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27" r:id="rId4"/>
    <p:sldMasterId id="2147483939" r:id="rId5"/>
    <p:sldMasterId id="2147483946" r:id="rId6"/>
  </p:sldMasterIdLst>
  <p:notesMasterIdLst>
    <p:notesMasterId r:id="rId75"/>
  </p:notesMasterIdLst>
  <p:handoutMasterIdLst>
    <p:handoutMasterId r:id="rId76"/>
  </p:handoutMasterIdLst>
  <p:sldIdLst>
    <p:sldId id="597" r:id="rId7"/>
    <p:sldId id="588" r:id="rId8"/>
    <p:sldId id="652" r:id="rId9"/>
    <p:sldId id="682" r:id="rId10"/>
    <p:sldId id="635" r:id="rId11"/>
    <p:sldId id="648" r:id="rId12"/>
    <p:sldId id="656" r:id="rId13"/>
    <p:sldId id="657" r:id="rId14"/>
    <p:sldId id="658" r:id="rId15"/>
    <p:sldId id="599" r:id="rId16"/>
    <p:sldId id="664" r:id="rId17"/>
    <p:sldId id="631" r:id="rId18"/>
    <p:sldId id="653" r:id="rId19"/>
    <p:sldId id="596" r:id="rId20"/>
    <p:sldId id="598" r:id="rId21"/>
    <p:sldId id="600" r:id="rId22"/>
    <p:sldId id="603" r:id="rId23"/>
    <p:sldId id="604" r:id="rId24"/>
    <p:sldId id="680" r:id="rId25"/>
    <p:sldId id="684" r:id="rId26"/>
    <p:sldId id="605" r:id="rId27"/>
    <p:sldId id="606" r:id="rId28"/>
    <p:sldId id="659" r:id="rId29"/>
    <p:sldId id="665" r:id="rId30"/>
    <p:sldId id="609" r:id="rId31"/>
    <p:sldId id="666" r:id="rId32"/>
    <p:sldId id="667" r:id="rId33"/>
    <p:sldId id="660" r:id="rId34"/>
    <p:sldId id="626" r:id="rId35"/>
    <p:sldId id="627" r:id="rId36"/>
    <p:sldId id="670" r:id="rId37"/>
    <p:sldId id="642" r:id="rId38"/>
    <p:sldId id="671" r:id="rId39"/>
    <p:sldId id="628" r:id="rId40"/>
    <p:sldId id="672" r:id="rId41"/>
    <p:sldId id="629" r:id="rId42"/>
    <p:sldId id="673" r:id="rId43"/>
    <p:sldId id="630" r:id="rId44"/>
    <p:sldId id="674" r:id="rId45"/>
    <p:sldId id="620" r:id="rId46"/>
    <p:sldId id="668" r:id="rId47"/>
    <p:sldId id="675" r:id="rId48"/>
    <p:sldId id="621" r:id="rId49"/>
    <p:sldId id="622" r:id="rId50"/>
    <p:sldId id="636" r:id="rId51"/>
    <p:sldId id="623" r:id="rId52"/>
    <p:sldId id="637" r:id="rId53"/>
    <p:sldId id="638" r:id="rId54"/>
    <p:sldId id="640" r:id="rId55"/>
    <p:sldId id="639" r:id="rId56"/>
    <p:sldId id="676" r:id="rId57"/>
    <p:sldId id="651" r:id="rId58"/>
    <p:sldId id="641" r:id="rId59"/>
    <p:sldId id="643" r:id="rId60"/>
    <p:sldId id="644" r:id="rId61"/>
    <p:sldId id="645" r:id="rId62"/>
    <p:sldId id="646" r:id="rId63"/>
    <p:sldId id="647" r:id="rId64"/>
    <p:sldId id="615" r:id="rId65"/>
    <p:sldId id="613" r:id="rId66"/>
    <p:sldId id="616" r:id="rId67"/>
    <p:sldId id="661" r:id="rId68"/>
    <p:sldId id="662" r:id="rId69"/>
    <p:sldId id="677" r:id="rId70"/>
    <p:sldId id="681" r:id="rId71"/>
    <p:sldId id="632" r:id="rId72"/>
    <p:sldId id="678" r:id="rId73"/>
    <p:sldId id="679" r:id="rId74"/>
  </p:sldIdLst>
  <p:sldSz cx="9906000" cy="6858000" type="A4"/>
  <p:notesSz cx="6805613" cy="9939338"/>
  <p:custDataLst>
    <p:tags r:id="rId7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sadame" initials="p" lastIdx="18" clrIdx="0"/>
  <p:cmAuthor id="1" name="Dwivedy, Aiswarya" initials="DA" lastIdx="7" clrIdx="1"/>
  <p:cmAuthor id="2" name="rabirada" initials="r"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E2F1B1"/>
    <a:srgbClr val="FAD1A8"/>
    <a:srgbClr val="66FF33"/>
    <a:srgbClr val="3366FF"/>
    <a:srgbClr val="B2B2B2"/>
    <a:srgbClr val="F2712A"/>
    <a:srgbClr val="000000"/>
    <a:srgbClr val="666699"/>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91" autoAdjust="0"/>
    <p:restoredTop sz="89066" autoAdjust="0"/>
  </p:normalViewPr>
  <p:slideViewPr>
    <p:cSldViewPr snapToGrid="0">
      <p:cViewPr>
        <p:scale>
          <a:sx n="70" d="100"/>
          <a:sy n="70" d="100"/>
        </p:scale>
        <p:origin x="-1062" y="-234"/>
      </p:cViewPr>
      <p:guideLst>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EA9DEF-6713-4355-929D-6DE7847C09E1}" type="doc">
      <dgm:prSet loTypeId="urn:microsoft.com/office/officeart/2005/8/layout/hierarchy1" loCatId="hierarchy" qsTypeId="urn:microsoft.com/office/officeart/2005/8/quickstyle/simple1" qsCatId="simple" csTypeId="urn:microsoft.com/office/officeart/2005/8/colors/accent5_4" csCatId="accent5" phldr="1"/>
      <dgm:spPr/>
      <dgm:t>
        <a:bodyPr/>
        <a:lstStyle/>
        <a:p>
          <a:endParaRPr lang="en-US"/>
        </a:p>
      </dgm:t>
    </dgm:pt>
    <dgm:pt modelId="{775095E3-413C-4BBC-A27A-70E59C7EB9FC}">
      <dgm:prSet phldrT="[Text]" custT="1"/>
      <dgm:spPr/>
      <dgm:t>
        <a:bodyPr/>
        <a:lstStyle/>
        <a:p>
          <a:r>
            <a:rPr lang="en-GB" sz="1100" b="0" dirty="0" smtClean="0"/>
            <a:t>COO India (</a:t>
          </a:r>
          <a:r>
            <a:rPr lang="en-US" sz="1100" b="0" dirty="0" err="1" smtClean="0"/>
            <a:t>Yardi</a:t>
          </a:r>
          <a:r>
            <a:rPr lang="en-US" sz="1100" b="0" dirty="0" smtClean="0"/>
            <a:t>, Ashwin</a:t>
          </a:r>
          <a:r>
            <a:rPr lang="en-GB" sz="1100" b="0" dirty="0" smtClean="0"/>
            <a:t>)</a:t>
          </a:r>
          <a:endParaRPr lang="en-US" sz="1100" dirty="0"/>
        </a:p>
      </dgm:t>
    </dgm:pt>
    <dgm:pt modelId="{8F966845-A0C9-47BA-B390-0F04931C2FB4}" type="parTrans" cxnId="{7CEC5709-CE97-4B64-9942-6E52CFF1068A}">
      <dgm:prSet/>
      <dgm:spPr/>
      <dgm:t>
        <a:bodyPr/>
        <a:lstStyle/>
        <a:p>
          <a:endParaRPr lang="en-US" sz="1000"/>
        </a:p>
      </dgm:t>
    </dgm:pt>
    <dgm:pt modelId="{73C65178-610E-4C67-9DF4-9B3A412CDA07}" type="sibTrans" cxnId="{7CEC5709-CE97-4B64-9942-6E52CFF1068A}">
      <dgm:prSet/>
      <dgm:spPr/>
      <dgm:t>
        <a:bodyPr/>
        <a:lstStyle/>
        <a:p>
          <a:endParaRPr lang="en-US" sz="1000"/>
        </a:p>
      </dgm:t>
    </dgm:pt>
    <dgm:pt modelId="{DC08CCAD-A312-4A4A-8438-0618A61732F9}">
      <dgm:prSet phldrT="[Text]" custT="1"/>
      <dgm:spPr/>
      <dgm:t>
        <a:bodyPr/>
        <a:lstStyle/>
        <a:p>
          <a:r>
            <a:rPr lang="en-US" sz="1100" b="1" dirty="0" smtClean="0"/>
            <a:t>QA &amp; Risk Head – </a:t>
          </a:r>
          <a:r>
            <a:rPr lang="en-US" sz="1100" b="1" dirty="0" err="1" smtClean="0"/>
            <a:t>Leena</a:t>
          </a:r>
          <a:r>
            <a:rPr lang="en-US" sz="1100" b="1" dirty="0" smtClean="0"/>
            <a:t> </a:t>
          </a:r>
          <a:r>
            <a:rPr lang="en-US" sz="1100" b="1" dirty="0" err="1" smtClean="0"/>
            <a:t>Sagar</a:t>
          </a:r>
          <a:endParaRPr lang="en-US" sz="1100" b="0" dirty="0"/>
        </a:p>
      </dgm:t>
    </dgm:pt>
    <dgm:pt modelId="{83F7EF31-E1E7-48EB-843E-9283A49006C6}" type="parTrans" cxnId="{4321D95C-ADE1-4DB0-9592-C5099F1A5668}">
      <dgm:prSet/>
      <dgm:spPr/>
      <dgm:t>
        <a:bodyPr/>
        <a:lstStyle/>
        <a:p>
          <a:endParaRPr lang="en-US" sz="1000"/>
        </a:p>
      </dgm:t>
    </dgm:pt>
    <dgm:pt modelId="{C682D910-FA14-4B6A-BF44-33D7B0702E5F}" type="sibTrans" cxnId="{4321D95C-ADE1-4DB0-9592-C5099F1A5668}">
      <dgm:prSet/>
      <dgm:spPr/>
      <dgm:t>
        <a:bodyPr/>
        <a:lstStyle/>
        <a:p>
          <a:endParaRPr lang="en-US" sz="1000"/>
        </a:p>
      </dgm:t>
    </dgm:pt>
    <dgm:pt modelId="{D97883BE-C2D9-4AE8-8F4A-123CA05E1F28}">
      <dgm:prSet custT="1"/>
      <dgm:spPr/>
      <dgm:t>
        <a:bodyPr/>
        <a:lstStyle/>
        <a:p>
          <a:r>
            <a:rPr lang="en-US" sz="1100" b="0" dirty="0" smtClean="0"/>
            <a:t>Delivery Assurance</a:t>
          </a:r>
          <a:endParaRPr lang="en-US" sz="1100" b="0" dirty="0"/>
        </a:p>
      </dgm:t>
    </dgm:pt>
    <dgm:pt modelId="{57844AF8-30E8-44EF-9928-CEE954EC6244}" type="parTrans" cxnId="{94FB8302-9591-421E-9762-441EA1A74B73}">
      <dgm:prSet/>
      <dgm:spPr/>
      <dgm:t>
        <a:bodyPr/>
        <a:lstStyle/>
        <a:p>
          <a:endParaRPr lang="en-US" sz="1000"/>
        </a:p>
      </dgm:t>
    </dgm:pt>
    <dgm:pt modelId="{420E9054-FF5A-4C62-BF44-B7743C84FF87}" type="sibTrans" cxnId="{94FB8302-9591-421E-9762-441EA1A74B73}">
      <dgm:prSet/>
      <dgm:spPr/>
      <dgm:t>
        <a:bodyPr/>
        <a:lstStyle/>
        <a:p>
          <a:endParaRPr lang="en-US" sz="1000"/>
        </a:p>
      </dgm:t>
    </dgm:pt>
    <dgm:pt modelId="{18300786-5B36-4119-9F75-E4B9C3DA0329}">
      <dgm:prSet custT="1"/>
      <dgm:spPr/>
      <dgm:t>
        <a:bodyPr/>
        <a:lstStyle/>
        <a:p>
          <a:r>
            <a:rPr lang="en-US" sz="1100" dirty="0" smtClean="0"/>
            <a:t>Delivery Review &amp; Risk Management</a:t>
          </a:r>
          <a:endParaRPr lang="en-US" sz="1100" b="0" dirty="0"/>
        </a:p>
      </dgm:t>
    </dgm:pt>
    <dgm:pt modelId="{338EF931-ACD6-407A-9659-8FD3143EC51D}" type="parTrans" cxnId="{39F926E4-0ACC-42E8-8E83-09B5896062D7}">
      <dgm:prSet/>
      <dgm:spPr/>
      <dgm:t>
        <a:bodyPr/>
        <a:lstStyle/>
        <a:p>
          <a:endParaRPr lang="en-US" sz="1000"/>
        </a:p>
      </dgm:t>
    </dgm:pt>
    <dgm:pt modelId="{B292E6F0-3744-44FD-A90E-815BD9807CA4}" type="sibTrans" cxnId="{39F926E4-0ACC-42E8-8E83-09B5896062D7}">
      <dgm:prSet/>
      <dgm:spPr/>
      <dgm:t>
        <a:bodyPr/>
        <a:lstStyle/>
        <a:p>
          <a:endParaRPr lang="en-US" sz="1000"/>
        </a:p>
      </dgm:t>
    </dgm:pt>
    <dgm:pt modelId="{EDFF194D-C1F1-42BE-97AA-8E2C60026689}">
      <dgm:prSet custT="1"/>
      <dgm:spPr/>
      <dgm:t>
        <a:bodyPr/>
        <a:lstStyle/>
        <a:p>
          <a:r>
            <a:rPr lang="en-US" sz="1100" b="0" dirty="0" smtClean="0"/>
            <a:t>Process Engineering</a:t>
          </a:r>
          <a:endParaRPr lang="en-US" sz="1100" b="0" dirty="0"/>
        </a:p>
      </dgm:t>
    </dgm:pt>
    <dgm:pt modelId="{093C1E4D-ED12-4C40-BD29-7044CB1E7BBB}" type="parTrans" cxnId="{7C0E4A5B-6518-4A51-ACBE-9BB72E9EE4A9}">
      <dgm:prSet/>
      <dgm:spPr/>
      <dgm:t>
        <a:bodyPr/>
        <a:lstStyle/>
        <a:p>
          <a:endParaRPr lang="en-US" sz="1000"/>
        </a:p>
      </dgm:t>
    </dgm:pt>
    <dgm:pt modelId="{0301CD3F-0AA5-4C64-B74B-3D242C7AE1C2}" type="sibTrans" cxnId="{7C0E4A5B-6518-4A51-ACBE-9BB72E9EE4A9}">
      <dgm:prSet/>
      <dgm:spPr/>
      <dgm:t>
        <a:bodyPr/>
        <a:lstStyle/>
        <a:p>
          <a:endParaRPr lang="en-US" sz="1000"/>
        </a:p>
      </dgm:t>
    </dgm:pt>
    <dgm:pt modelId="{9EEBAE53-45AF-4C2F-999D-1AF2B8713C50}">
      <dgm:prSet custT="1"/>
      <dgm:spPr/>
      <dgm:t>
        <a:bodyPr/>
        <a:lstStyle/>
        <a:p>
          <a:r>
            <a:rPr lang="en-US" sz="1100" dirty="0" smtClean="0"/>
            <a:t>Internal Audit Squad</a:t>
          </a:r>
          <a:endParaRPr lang="en-US" sz="1100" b="0" dirty="0"/>
        </a:p>
      </dgm:t>
    </dgm:pt>
    <dgm:pt modelId="{45A0D40D-1614-47FC-A027-FC37ECB249D5}" type="parTrans" cxnId="{E28A3A9C-DF2B-410F-8DEE-81477EB33543}">
      <dgm:prSet/>
      <dgm:spPr/>
      <dgm:t>
        <a:bodyPr/>
        <a:lstStyle/>
        <a:p>
          <a:endParaRPr lang="en-US" sz="1000"/>
        </a:p>
      </dgm:t>
    </dgm:pt>
    <dgm:pt modelId="{F608C293-B26F-4D6B-9602-EF7C8E8892D2}" type="sibTrans" cxnId="{E28A3A9C-DF2B-410F-8DEE-81477EB33543}">
      <dgm:prSet/>
      <dgm:spPr/>
      <dgm:t>
        <a:bodyPr/>
        <a:lstStyle/>
        <a:p>
          <a:endParaRPr lang="en-US" sz="1000"/>
        </a:p>
      </dgm:t>
    </dgm:pt>
    <dgm:pt modelId="{EBCB40D0-388E-4A5C-8B07-06ADC0A3659B}">
      <dgm:prSet custT="1"/>
      <dgm:spPr/>
      <dgm:t>
        <a:bodyPr/>
        <a:lstStyle/>
        <a:p>
          <a:r>
            <a:rPr lang="en-US" sz="1100" dirty="0" smtClean="0"/>
            <a:t>ISSAE 3402/ Support function </a:t>
          </a:r>
          <a:endParaRPr lang="en-US" sz="1100" b="0" dirty="0"/>
        </a:p>
      </dgm:t>
    </dgm:pt>
    <dgm:pt modelId="{7A5D4D8B-4C2A-46DA-A7E4-955EE6B7E149}" type="parTrans" cxnId="{7DBDAFAC-12FF-47B5-BF10-7337E89AB7CA}">
      <dgm:prSet/>
      <dgm:spPr/>
      <dgm:t>
        <a:bodyPr/>
        <a:lstStyle/>
        <a:p>
          <a:endParaRPr lang="en-US" sz="1000"/>
        </a:p>
      </dgm:t>
    </dgm:pt>
    <dgm:pt modelId="{4061A55D-C5DD-4C2A-82F4-4D0B68BEFEEA}" type="sibTrans" cxnId="{7DBDAFAC-12FF-47B5-BF10-7337E89AB7CA}">
      <dgm:prSet/>
      <dgm:spPr/>
      <dgm:t>
        <a:bodyPr/>
        <a:lstStyle/>
        <a:p>
          <a:endParaRPr lang="en-US" sz="1000"/>
        </a:p>
      </dgm:t>
    </dgm:pt>
    <dgm:pt modelId="{54722A84-882F-49A0-A0B4-BC4D4B473B10}">
      <dgm:prSet custT="1"/>
      <dgm:spPr/>
      <dgm:t>
        <a:bodyPr/>
        <a:lstStyle/>
        <a:p>
          <a:r>
            <a:rPr lang="en-US" sz="1100" dirty="0" smtClean="0"/>
            <a:t>Analytics </a:t>
          </a:r>
          <a:endParaRPr lang="en-US" sz="1100" b="0" dirty="0"/>
        </a:p>
      </dgm:t>
    </dgm:pt>
    <dgm:pt modelId="{E83BF507-DC15-466E-8933-3A2A8EC7A7F6}" type="parTrans" cxnId="{C978D8D0-07B1-4351-B3AD-2F7D11F08404}">
      <dgm:prSet/>
      <dgm:spPr/>
      <dgm:t>
        <a:bodyPr/>
        <a:lstStyle/>
        <a:p>
          <a:endParaRPr lang="en-US" sz="1000"/>
        </a:p>
      </dgm:t>
    </dgm:pt>
    <dgm:pt modelId="{942BC238-B9B4-4436-A75D-F33BE667DAAB}" type="sibTrans" cxnId="{C978D8D0-07B1-4351-B3AD-2F7D11F08404}">
      <dgm:prSet/>
      <dgm:spPr/>
      <dgm:t>
        <a:bodyPr/>
        <a:lstStyle/>
        <a:p>
          <a:endParaRPr lang="en-US" sz="1000"/>
        </a:p>
      </dgm:t>
    </dgm:pt>
    <dgm:pt modelId="{8F023B86-C3D4-4180-8501-15512D1044D3}">
      <dgm:prSet custT="1"/>
      <dgm:spPr/>
      <dgm:t>
        <a:bodyPr/>
        <a:lstStyle/>
        <a:p>
          <a:r>
            <a:rPr lang="en-US" sz="1100" dirty="0" smtClean="0"/>
            <a:t>Process COE  - CATALYST)</a:t>
          </a:r>
          <a:endParaRPr lang="en-US" sz="1100" b="0" dirty="0"/>
        </a:p>
      </dgm:t>
    </dgm:pt>
    <dgm:pt modelId="{CA49F61B-850F-4DD7-B146-42D0306D293F}" type="parTrans" cxnId="{783862BD-B2B4-41BE-A28B-8361B03224B8}">
      <dgm:prSet/>
      <dgm:spPr/>
      <dgm:t>
        <a:bodyPr/>
        <a:lstStyle/>
        <a:p>
          <a:endParaRPr lang="en-US" sz="1000"/>
        </a:p>
      </dgm:t>
    </dgm:pt>
    <dgm:pt modelId="{ECB62B7D-16F9-4288-AB28-FF20974942D1}" type="sibTrans" cxnId="{783862BD-B2B4-41BE-A28B-8361B03224B8}">
      <dgm:prSet/>
      <dgm:spPr/>
      <dgm:t>
        <a:bodyPr/>
        <a:lstStyle/>
        <a:p>
          <a:endParaRPr lang="en-US" sz="1000"/>
        </a:p>
      </dgm:t>
    </dgm:pt>
    <dgm:pt modelId="{88DE314C-82FF-4409-8FF8-6137D509FAA8}">
      <dgm:prSet phldrT="[Text]" custT="1"/>
      <dgm:spPr/>
      <dgm:t>
        <a:bodyPr/>
        <a:lstStyle/>
        <a:p>
          <a:r>
            <a:rPr lang="en-GB" sz="1100" b="0" dirty="0" smtClean="0"/>
            <a:t>OBU Head </a:t>
          </a:r>
          <a:endParaRPr lang="en-US" sz="1100" b="0" dirty="0"/>
        </a:p>
      </dgm:t>
    </dgm:pt>
    <dgm:pt modelId="{243533DC-0AB6-4E88-96B5-B621C2CC39C5}" type="parTrans" cxnId="{3EFEEBB9-512D-4622-AA6C-7AE8CFA254F4}">
      <dgm:prSet/>
      <dgm:spPr/>
      <dgm:t>
        <a:bodyPr/>
        <a:lstStyle/>
        <a:p>
          <a:endParaRPr lang="en-US" sz="1000"/>
        </a:p>
      </dgm:t>
    </dgm:pt>
    <dgm:pt modelId="{C6CFB511-47E0-4104-A11B-3FD02B9E3DB4}" type="sibTrans" cxnId="{3EFEEBB9-512D-4622-AA6C-7AE8CFA254F4}">
      <dgm:prSet/>
      <dgm:spPr/>
      <dgm:t>
        <a:bodyPr/>
        <a:lstStyle/>
        <a:p>
          <a:endParaRPr lang="en-US" sz="1000"/>
        </a:p>
      </dgm:t>
    </dgm:pt>
    <dgm:pt modelId="{35589B89-A81C-498F-A40D-52326D54F81A}">
      <dgm:prSet custT="1"/>
      <dgm:spPr/>
      <dgm:t>
        <a:bodyPr/>
        <a:lstStyle/>
        <a:p>
          <a:r>
            <a:rPr lang="en-US" sz="1100" b="0" dirty="0" smtClean="0"/>
            <a:t>Program/ Engagement Manager </a:t>
          </a:r>
          <a:endParaRPr lang="en-US" sz="1100" b="0" dirty="0"/>
        </a:p>
      </dgm:t>
    </dgm:pt>
    <dgm:pt modelId="{CCA3614F-4976-4286-AAD0-85FC52AB8E85}" type="parTrans" cxnId="{2B0CB810-6E8E-4BE1-973C-13FA46921C68}">
      <dgm:prSet/>
      <dgm:spPr/>
      <dgm:t>
        <a:bodyPr/>
        <a:lstStyle/>
        <a:p>
          <a:endParaRPr lang="en-US" sz="1000"/>
        </a:p>
      </dgm:t>
    </dgm:pt>
    <dgm:pt modelId="{B230A0EE-1B59-4CC6-BAEE-1EB8D74C93ED}" type="sibTrans" cxnId="{2B0CB810-6E8E-4BE1-973C-13FA46921C68}">
      <dgm:prSet/>
      <dgm:spPr/>
      <dgm:t>
        <a:bodyPr/>
        <a:lstStyle/>
        <a:p>
          <a:endParaRPr lang="en-US" sz="1000"/>
        </a:p>
      </dgm:t>
    </dgm:pt>
    <dgm:pt modelId="{2D016F77-5B7B-4287-AAD2-9ACF11118D61}">
      <dgm:prSet custT="1"/>
      <dgm:spPr/>
      <dgm:t>
        <a:bodyPr/>
        <a:lstStyle/>
        <a:p>
          <a:r>
            <a:rPr lang="en-US" sz="1100" b="0" dirty="0" smtClean="0"/>
            <a:t>Project Manager/SDM</a:t>
          </a:r>
          <a:endParaRPr lang="en-US" sz="1100" b="0" dirty="0"/>
        </a:p>
      </dgm:t>
    </dgm:pt>
    <dgm:pt modelId="{FF764FFD-0286-447A-AD06-E90307CE3818}" type="parTrans" cxnId="{1234F341-23A6-414C-9F97-7EC64B530003}">
      <dgm:prSet/>
      <dgm:spPr/>
      <dgm:t>
        <a:bodyPr/>
        <a:lstStyle/>
        <a:p>
          <a:endParaRPr lang="en-US" sz="1000"/>
        </a:p>
      </dgm:t>
    </dgm:pt>
    <dgm:pt modelId="{FF59C257-6514-40DA-AB9E-02DE98AC5F83}" type="sibTrans" cxnId="{1234F341-23A6-414C-9F97-7EC64B530003}">
      <dgm:prSet/>
      <dgm:spPr/>
      <dgm:t>
        <a:bodyPr/>
        <a:lstStyle/>
        <a:p>
          <a:endParaRPr lang="en-US" sz="1000"/>
        </a:p>
      </dgm:t>
    </dgm:pt>
    <dgm:pt modelId="{DC574E55-49B2-4709-AEF7-311C392DB89D}">
      <dgm:prSet custT="1"/>
      <dgm:spPr/>
      <dgm:t>
        <a:bodyPr/>
        <a:lstStyle/>
        <a:p>
          <a:r>
            <a:rPr lang="en-US" sz="1100" b="0" dirty="0" smtClean="0"/>
            <a:t>PQL</a:t>
          </a:r>
          <a:endParaRPr lang="en-US" sz="1100" b="0" dirty="0"/>
        </a:p>
      </dgm:t>
    </dgm:pt>
    <dgm:pt modelId="{45DA8458-B0CF-4171-A2F0-49BF76B96B93}" type="parTrans" cxnId="{E791D094-9621-4F74-BF8F-5441D7D22585}">
      <dgm:prSet/>
      <dgm:spPr/>
      <dgm:t>
        <a:bodyPr/>
        <a:lstStyle/>
        <a:p>
          <a:endParaRPr lang="en-US" sz="1000"/>
        </a:p>
      </dgm:t>
    </dgm:pt>
    <dgm:pt modelId="{1D7D159B-E738-44FC-98F9-58A80A131897}" type="sibTrans" cxnId="{E791D094-9621-4F74-BF8F-5441D7D22585}">
      <dgm:prSet/>
      <dgm:spPr/>
      <dgm:t>
        <a:bodyPr/>
        <a:lstStyle/>
        <a:p>
          <a:endParaRPr lang="en-US" sz="1000"/>
        </a:p>
      </dgm:t>
    </dgm:pt>
    <dgm:pt modelId="{0032AAD7-5869-4F76-8D1A-4B7083CDD0BC}">
      <dgm:prSet custT="1"/>
      <dgm:spPr/>
      <dgm:t>
        <a:bodyPr/>
        <a:lstStyle/>
        <a:p>
          <a:r>
            <a:rPr lang="en-US" sz="1100" b="0" dirty="0" smtClean="0"/>
            <a:t>Team lead</a:t>
          </a:r>
          <a:endParaRPr lang="en-US" sz="1100" b="0" dirty="0"/>
        </a:p>
      </dgm:t>
    </dgm:pt>
    <dgm:pt modelId="{D27DB433-D15F-44FE-9C34-DF04AE438856}" type="parTrans" cxnId="{17FAFB3E-2B6E-4D9A-9C3A-3914098121E1}">
      <dgm:prSet/>
      <dgm:spPr/>
      <dgm:t>
        <a:bodyPr/>
        <a:lstStyle/>
        <a:p>
          <a:endParaRPr lang="en-US" sz="1000"/>
        </a:p>
      </dgm:t>
    </dgm:pt>
    <dgm:pt modelId="{95C8B4C0-35DC-4C20-8BEA-BFB05A31F563}" type="sibTrans" cxnId="{17FAFB3E-2B6E-4D9A-9C3A-3914098121E1}">
      <dgm:prSet/>
      <dgm:spPr/>
      <dgm:t>
        <a:bodyPr/>
        <a:lstStyle/>
        <a:p>
          <a:endParaRPr lang="en-US" sz="1000"/>
        </a:p>
      </dgm:t>
    </dgm:pt>
    <dgm:pt modelId="{02313072-4204-46A4-B002-182EC5EB368A}">
      <dgm:prSet custT="1"/>
      <dgm:spPr/>
      <dgm:t>
        <a:bodyPr/>
        <a:lstStyle/>
        <a:p>
          <a:r>
            <a:rPr lang="en-US" sz="1100" b="0" dirty="0" smtClean="0"/>
            <a:t>Team Members</a:t>
          </a:r>
          <a:endParaRPr lang="en-US" sz="1100" b="0" dirty="0"/>
        </a:p>
      </dgm:t>
    </dgm:pt>
    <dgm:pt modelId="{2068D1DD-29B3-48C0-BB6C-1D28B8970293}" type="parTrans" cxnId="{BFDCD556-BB83-43B1-995F-50B1901DBDE2}">
      <dgm:prSet/>
      <dgm:spPr/>
      <dgm:t>
        <a:bodyPr/>
        <a:lstStyle/>
        <a:p>
          <a:endParaRPr lang="en-US" sz="1000"/>
        </a:p>
      </dgm:t>
    </dgm:pt>
    <dgm:pt modelId="{25F80A84-07D9-4E34-A98F-C7797AE522F1}" type="sibTrans" cxnId="{BFDCD556-BB83-43B1-995F-50B1901DBDE2}">
      <dgm:prSet/>
      <dgm:spPr/>
      <dgm:t>
        <a:bodyPr/>
        <a:lstStyle/>
        <a:p>
          <a:endParaRPr lang="en-US" sz="1000"/>
        </a:p>
      </dgm:t>
    </dgm:pt>
    <dgm:pt modelId="{BBD0362E-C80F-48B9-93FA-C235345BDE34}">
      <dgm:prSet custT="1"/>
      <dgm:spPr/>
      <dgm:t>
        <a:bodyPr/>
        <a:lstStyle/>
        <a:p>
          <a:r>
            <a:rPr lang="en-US" sz="1100" b="0" dirty="0" smtClean="0"/>
            <a:t>Other Towers</a:t>
          </a:r>
          <a:endParaRPr lang="en-US" sz="1100" b="0" dirty="0"/>
        </a:p>
      </dgm:t>
    </dgm:pt>
    <dgm:pt modelId="{B74A03A5-8106-4236-898A-DD71BC62CC5E}" type="parTrans" cxnId="{D9152C25-147F-4B93-B158-B2D7B5A6395C}">
      <dgm:prSet/>
      <dgm:spPr/>
      <dgm:t>
        <a:bodyPr/>
        <a:lstStyle/>
        <a:p>
          <a:endParaRPr lang="en-US"/>
        </a:p>
      </dgm:t>
    </dgm:pt>
    <dgm:pt modelId="{7E021F25-1748-4FBA-9FA2-8E6C6B2E6184}" type="sibTrans" cxnId="{D9152C25-147F-4B93-B158-B2D7B5A6395C}">
      <dgm:prSet/>
      <dgm:spPr/>
      <dgm:t>
        <a:bodyPr/>
        <a:lstStyle/>
        <a:p>
          <a:endParaRPr lang="en-US"/>
        </a:p>
      </dgm:t>
    </dgm:pt>
    <dgm:pt modelId="{E4A8E28D-759B-4237-B077-AA490C087C51}" type="pres">
      <dgm:prSet presAssocID="{4FEA9DEF-6713-4355-929D-6DE7847C09E1}" presName="hierChild1" presStyleCnt="0">
        <dgm:presLayoutVars>
          <dgm:chPref val="1"/>
          <dgm:dir/>
          <dgm:animOne val="branch"/>
          <dgm:animLvl val="lvl"/>
          <dgm:resizeHandles/>
        </dgm:presLayoutVars>
      </dgm:prSet>
      <dgm:spPr/>
      <dgm:t>
        <a:bodyPr/>
        <a:lstStyle/>
        <a:p>
          <a:endParaRPr lang="en-US"/>
        </a:p>
      </dgm:t>
    </dgm:pt>
    <dgm:pt modelId="{19F4C269-FDA3-46DE-A116-495689DE325E}" type="pres">
      <dgm:prSet presAssocID="{775095E3-413C-4BBC-A27A-70E59C7EB9FC}" presName="hierRoot1" presStyleCnt="0"/>
      <dgm:spPr/>
    </dgm:pt>
    <dgm:pt modelId="{7F9EE360-758F-4790-80DD-9B5FC6ACE593}" type="pres">
      <dgm:prSet presAssocID="{775095E3-413C-4BBC-A27A-70E59C7EB9FC}" presName="composite" presStyleCnt="0"/>
      <dgm:spPr/>
    </dgm:pt>
    <dgm:pt modelId="{74C7193B-D405-4D73-AD0A-A196313B805E}" type="pres">
      <dgm:prSet presAssocID="{775095E3-413C-4BBC-A27A-70E59C7EB9FC}" presName="background" presStyleLbl="node0" presStyleIdx="0" presStyleCnt="1"/>
      <dgm:spPr/>
    </dgm:pt>
    <dgm:pt modelId="{089CAA36-72E1-4611-8406-70E00B8D7239}" type="pres">
      <dgm:prSet presAssocID="{775095E3-413C-4BBC-A27A-70E59C7EB9FC}" presName="text" presStyleLbl="fgAcc0" presStyleIdx="0" presStyleCnt="1" custScaleX="176908">
        <dgm:presLayoutVars>
          <dgm:chPref val="3"/>
        </dgm:presLayoutVars>
      </dgm:prSet>
      <dgm:spPr/>
      <dgm:t>
        <a:bodyPr/>
        <a:lstStyle/>
        <a:p>
          <a:endParaRPr lang="en-US"/>
        </a:p>
      </dgm:t>
    </dgm:pt>
    <dgm:pt modelId="{B11B536A-C4F5-4B7C-AA75-E66EC1D4443A}" type="pres">
      <dgm:prSet presAssocID="{775095E3-413C-4BBC-A27A-70E59C7EB9FC}" presName="hierChild2" presStyleCnt="0"/>
      <dgm:spPr/>
    </dgm:pt>
    <dgm:pt modelId="{46373476-9C28-4ACC-BD03-DF72037A107A}" type="pres">
      <dgm:prSet presAssocID="{83F7EF31-E1E7-48EB-843E-9283A49006C6}" presName="Name10" presStyleLbl="parChTrans1D2" presStyleIdx="0" presStyleCnt="2"/>
      <dgm:spPr/>
      <dgm:t>
        <a:bodyPr/>
        <a:lstStyle/>
        <a:p>
          <a:endParaRPr lang="en-US"/>
        </a:p>
      </dgm:t>
    </dgm:pt>
    <dgm:pt modelId="{0986A699-A18B-4E4F-A1C0-FA0DE8DA9286}" type="pres">
      <dgm:prSet presAssocID="{DC08CCAD-A312-4A4A-8438-0618A61732F9}" presName="hierRoot2" presStyleCnt="0"/>
      <dgm:spPr/>
    </dgm:pt>
    <dgm:pt modelId="{0D304504-2900-4D26-8AA4-6DAEA46EF953}" type="pres">
      <dgm:prSet presAssocID="{DC08CCAD-A312-4A4A-8438-0618A61732F9}" presName="composite2" presStyleCnt="0"/>
      <dgm:spPr/>
    </dgm:pt>
    <dgm:pt modelId="{C542465D-556D-4B58-BABC-CD934378022B}" type="pres">
      <dgm:prSet presAssocID="{DC08CCAD-A312-4A4A-8438-0618A61732F9}" presName="background2" presStyleLbl="node2" presStyleIdx="0" presStyleCnt="2"/>
      <dgm:spPr/>
    </dgm:pt>
    <dgm:pt modelId="{A0BDA28F-584B-4D3B-BB53-565590C70D6A}" type="pres">
      <dgm:prSet presAssocID="{DC08CCAD-A312-4A4A-8438-0618A61732F9}" presName="text2" presStyleLbl="fgAcc2" presStyleIdx="0" presStyleCnt="2" custScaleX="176908">
        <dgm:presLayoutVars>
          <dgm:chPref val="3"/>
        </dgm:presLayoutVars>
      </dgm:prSet>
      <dgm:spPr/>
      <dgm:t>
        <a:bodyPr/>
        <a:lstStyle/>
        <a:p>
          <a:endParaRPr lang="en-US"/>
        </a:p>
      </dgm:t>
    </dgm:pt>
    <dgm:pt modelId="{97450017-8F65-4CD8-867D-E03AD740DE42}" type="pres">
      <dgm:prSet presAssocID="{DC08CCAD-A312-4A4A-8438-0618A61732F9}" presName="hierChild3" presStyleCnt="0"/>
      <dgm:spPr/>
    </dgm:pt>
    <dgm:pt modelId="{77B9A075-036D-4705-B832-EA1F385B1198}" type="pres">
      <dgm:prSet presAssocID="{57844AF8-30E8-44EF-9928-CEE954EC6244}" presName="Name17" presStyleLbl="parChTrans1D3" presStyleIdx="0" presStyleCnt="5"/>
      <dgm:spPr/>
      <dgm:t>
        <a:bodyPr/>
        <a:lstStyle/>
        <a:p>
          <a:endParaRPr lang="en-US"/>
        </a:p>
      </dgm:t>
    </dgm:pt>
    <dgm:pt modelId="{BC8AC010-B754-4077-A617-10A383FA62D8}" type="pres">
      <dgm:prSet presAssocID="{D97883BE-C2D9-4AE8-8F4A-123CA05E1F28}" presName="hierRoot3" presStyleCnt="0"/>
      <dgm:spPr/>
    </dgm:pt>
    <dgm:pt modelId="{29E24218-D550-4966-8E4D-1AD60BFECEDD}" type="pres">
      <dgm:prSet presAssocID="{D97883BE-C2D9-4AE8-8F4A-123CA05E1F28}" presName="composite3" presStyleCnt="0"/>
      <dgm:spPr/>
    </dgm:pt>
    <dgm:pt modelId="{385C8A82-C1E0-4803-871C-E01E6AE0CA8D}" type="pres">
      <dgm:prSet presAssocID="{D97883BE-C2D9-4AE8-8F4A-123CA05E1F28}" presName="background3" presStyleLbl="node3" presStyleIdx="0" presStyleCnt="5"/>
      <dgm:spPr/>
    </dgm:pt>
    <dgm:pt modelId="{19037FAF-CD41-4629-A29D-0ECDD57ADCC1}" type="pres">
      <dgm:prSet presAssocID="{D97883BE-C2D9-4AE8-8F4A-123CA05E1F28}" presName="text3" presStyleLbl="fgAcc3" presStyleIdx="0" presStyleCnt="5" custScaleX="176908" custLinFactNeighborX="-38019" custLinFactNeighborY="38318">
        <dgm:presLayoutVars>
          <dgm:chPref val="3"/>
        </dgm:presLayoutVars>
      </dgm:prSet>
      <dgm:spPr/>
      <dgm:t>
        <a:bodyPr/>
        <a:lstStyle/>
        <a:p>
          <a:endParaRPr lang="en-US"/>
        </a:p>
      </dgm:t>
    </dgm:pt>
    <dgm:pt modelId="{6B1FBCB2-20EB-4944-8463-3C2F8C09EDAE}" type="pres">
      <dgm:prSet presAssocID="{D97883BE-C2D9-4AE8-8F4A-123CA05E1F28}" presName="hierChild4" presStyleCnt="0"/>
      <dgm:spPr/>
    </dgm:pt>
    <dgm:pt modelId="{D04199B7-CCDB-4FAA-8A4D-E389D665C941}" type="pres">
      <dgm:prSet presAssocID="{338EF931-ACD6-407A-9659-8FD3143EC51D}" presName="Name17" presStyleLbl="parChTrans1D3" presStyleIdx="1" presStyleCnt="5"/>
      <dgm:spPr/>
      <dgm:t>
        <a:bodyPr/>
        <a:lstStyle/>
        <a:p>
          <a:endParaRPr lang="en-US"/>
        </a:p>
      </dgm:t>
    </dgm:pt>
    <dgm:pt modelId="{DB123C96-FB1F-43D5-81BB-6FA12D13809A}" type="pres">
      <dgm:prSet presAssocID="{18300786-5B36-4119-9F75-E4B9C3DA0329}" presName="hierRoot3" presStyleCnt="0"/>
      <dgm:spPr/>
    </dgm:pt>
    <dgm:pt modelId="{B8EF4C89-AA58-42C8-9115-71B281765F67}" type="pres">
      <dgm:prSet presAssocID="{18300786-5B36-4119-9F75-E4B9C3DA0329}" presName="composite3" presStyleCnt="0"/>
      <dgm:spPr/>
    </dgm:pt>
    <dgm:pt modelId="{4BBD5CE3-6CC3-4CFA-B877-412598B12D4B}" type="pres">
      <dgm:prSet presAssocID="{18300786-5B36-4119-9F75-E4B9C3DA0329}" presName="background3" presStyleLbl="node3" presStyleIdx="1" presStyleCnt="5"/>
      <dgm:spPr/>
    </dgm:pt>
    <dgm:pt modelId="{40F20D98-87C6-49E3-BD49-A9EE8981E798}" type="pres">
      <dgm:prSet presAssocID="{18300786-5B36-4119-9F75-E4B9C3DA0329}" presName="text3" presStyleLbl="fgAcc3" presStyleIdx="1" presStyleCnt="5" custScaleX="176908" custLinFactNeighborX="-47189" custLinFactNeighborY="24721">
        <dgm:presLayoutVars>
          <dgm:chPref val="3"/>
        </dgm:presLayoutVars>
      </dgm:prSet>
      <dgm:spPr/>
      <dgm:t>
        <a:bodyPr/>
        <a:lstStyle/>
        <a:p>
          <a:endParaRPr lang="en-US"/>
        </a:p>
      </dgm:t>
    </dgm:pt>
    <dgm:pt modelId="{F7548F5B-63BE-41F2-846F-F75C86B20450}" type="pres">
      <dgm:prSet presAssocID="{18300786-5B36-4119-9F75-E4B9C3DA0329}" presName="hierChild4" presStyleCnt="0"/>
      <dgm:spPr/>
    </dgm:pt>
    <dgm:pt modelId="{902C571E-94E6-4D43-B505-22B9E7A63F98}" type="pres">
      <dgm:prSet presAssocID="{B74A03A5-8106-4236-898A-DD71BC62CC5E}" presName="Name17" presStyleLbl="parChTrans1D3" presStyleIdx="2" presStyleCnt="5"/>
      <dgm:spPr/>
      <dgm:t>
        <a:bodyPr/>
        <a:lstStyle/>
        <a:p>
          <a:endParaRPr lang="en-US"/>
        </a:p>
      </dgm:t>
    </dgm:pt>
    <dgm:pt modelId="{695F7EEB-DD2F-4534-A325-FFB72B0BF24F}" type="pres">
      <dgm:prSet presAssocID="{BBD0362E-C80F-48B9-93FA-C235345BDE34}" presName="hierRoot3" presStyleCnt="0"/>
      <dgm:spPr/>
    </dgm:pt>
    <dgm:pt modelId="{E3D79CF0-0B31-45BE-8C93-5EFB2669398A}" type="pres">
      <dgm:prSet presAssocID="{BBD0362E-C80F-48B9-93FA-C235345BDE34}" presName="composite3" presStyleCnt="0"/>
      <dgm:spPr/>
    </dgm:pt>
    <dgm:pt modelId="{BA6379BF-646C-4F88-894B-C4868730EC07}" type="pres">
      <dgm:prSet presAssocID="{BBD0362E-C80F-48B9-93FA-C235345BDE34}" presName="background3" presStyleLbl="node3" presStyleIdx="2" presStyleCnt="5"/>
      <dgm:spPr/>
    </dgm:pt>
    <dgm:pt modelId="{22ED504D-E1DD-41F7-9B5D-69DFE1698839}" type="pres">
      <dgm:prSet presAssocID="{BBD0362E-C80F-48B9-93FA-C235345BDE34}" presName="text3" presStyleLbl="fgAcc3" presStyleIdx="2" presStyleCnt="5" custScaleX="176908" custLinFactNeighborX="-27980" custLinFactNeighborY="42543">
        <dgm:presLayoutVars>
          <dgm:chPref val="3"/>
        </dgm:presLayoutVars>
      </dgm:prSet>
      <dgm:spPr/>
      <dgm:t>
        <a:bodyPr/>
        <a:lstStyle/>
        <a:p>
          <a:endParaRPr lang="en-US"/>
        </a:p>
      </dgm:t>
    </dgm:pt>
    <dgm:pt modelId="{C7B1430F-4A2D-47F6-9DCA-EB1926944B39}" type="pres">
      <dgm:prSet presAssocID="{BBD0362E-C80F-48B9-93FA-C235345BDE34}" presName="hierChild4" presStyleCnt="0"/>
      <dgm:spPr/>
    </dgm:pt>
    <dgm:pt modelId="{9D6F1D67-00D7-44A5-A0A4-1D4F86B872F7}" type="pres">
      <dgm:prSet presAssocID="{093C1E4D-ED12-4C40-BD29-7044CB1E7BBB}" presName="Name23" presStyleLbl="parChTrans1D4" presStyleIdx="0" presStyleCnt="8"/>
      <dgm:spPr/>
      <dgm:t>
        <a:bodyPr/>
        <a:lstStyle/>
        <a:p>
          <a:endParaRPr lang="en-US"/>
        </a:p>
      </dgm:t>
    </dgm:pt>
    <dgm:pt modelId="{82CDB5EF-C91D-4BA5-B135-4819FAA3B534}" type="pres">
      <dgm:prSet presAssocID="{EDFF194D-C1F1-42BE-97AA-8E2C60026689}" presName="hierRoot4" presStyleCnt="0"/>
      <dgm:spPr/>
    </dgm:pt>
    <dgm:pt modelId="{2CEBF2E7-86DD-4F38-BA4D-22592CC1D2EF}" type="pres">
      <dgm:prSet presAssocID="{EDFF194D-C1F1-42BE-97AA-8E2C60026689}" presName="composite4" presStyleCnt="0"/>
      <dgm:spPr/>
    </dgm:pt>
    <dgm:pt modelId="{49A6C669-D310-444A-B73F-FFD357CF96AD}" type="pres">
      <dgm:prSet presAssocID="{EDFF194D-C1F1-42BE-97AA-8E2C60026689}" presName="background4" presStyleLbl="node4" presStyleIdx="0" presStyleCnt="8"/>
      <dgm:spPr/>
    </dgm:pt>
    <dgm:pt modelId="{4198534F-5110-4BAC-A3E1-52B137679B55}" type="pres">
      <dgm:prSet presAssocID="{EDFF194D-C1F1-42BE-97AA-8E2C60026689}" presName="text4" presStyleLbl="fgAcc4" presStyleIdx="0" presStyleCnt="8" custLinFactY="96486" custLinFactNeighborX="-30891" custLinFactNeighborY="100000">
        <dgm:presLayoutVars>
          <dgm:chPref val="3"/>
        </dgm:presLayoutVars>
      </dgm:prSet>
      <dgm:spPr/>
      <dgm:t>
        <a:bodyPr/>
        <a:lstStyle/>
        <a:p>
          <a:endParaRPr lang="en-US"/>
        </a:p>
      </dgm:t>
    </dgm:pt>
    <dgm:pt modelId="{A193389C-8EAF-4324-A0AC-35DACE012140}" type="pres">
      <dgm:prSet presAssocID="{EDFF194D-C1F1-42BE-97AA-8E2C60026689}" presName="hierChild5" presStyleCnt="0"/>
      <dgm:spPr/>
    </dgm:pt>
    <dgm:pt modelId="{451418BD-3CEA-4A9E-96CB-50D2AAC13F5B}" type="pres">
      <dgm:prSet presAssocID="{45A0D40D-1614-47FC-A027-FC37ECB249D5}" presName="Name23" presStyleLbl="parChTrans1D4" presStyleIdx="1" presStyleCnt="8"/>
      <dgm:spPr/>
      <dgm:t>
        <a:bodyPr/>
        <a:lstStyle/>
        <a:p>
          <a:endParaRPr lang="en-US"/>
        </a:p>
      </dgm:t>
    </dgm:pt>
    <dgm:pt modelId="{3AF45F4A-B134-42E3-88D6-66FE924C5B5D}" type="pres">
      <dgm:prSet presAssocID="{9EEBAE53-45AF-4C2F-999D-1AF2B8713C50}" presName="hierRoot4" presStyleCnt="0"/>
      <dgm:spPr/>
    </dgm:pt>
    <dgm:pt modelId="{1612D40A-F0D5-455F-B7BA-D49DF253E447}" type="pres">
      <dgm:prSet presAssocID="{9EEBAE53-45AF-4C2F-999D-1AF2B8713C50}" presName="composite4" presStyleCnt="0"/>
      <dgm:spPr/>
    </dgm:pt>
    <dgm:pt modelId="{86C08C8D-EC7F-4C2A-9920-78B750EF75F0}" type="pres">
      <dgm:prSet presAssocID="{9EEBAE53-45AF-4C2F-999D-1AF2B8713C50}" presName="background4" presStyleLbl="node4" presStyleIdx="1" presStyleCnt="8"/>
      <dgm:spPr/>
    </dgm:pt>
    <dgm:pt modelId="{EA9B1780-0668-412E-AD67-238366C21981}" type="pres">
      <dgm:prSet presAssocID="{9EEBAE53-45AF-4C2F-999D-1AF2B8713C50}" presName="text4" presStyleLbl="fgAcc4" presStyleIdx="1" presStyleCnt="8" custLinFactY="96486" custLinFactNeighborX="-30891" custLinFactNeighborY="100000">
        <dgm:presLayoutVars>
          <dgm:chPref val="3"/>
        </dgm:presLayoutVars>
      </dgm:prSet>
      <dgm:spPr/>
      <dgm:t>
        <a:bodyPr/>
        <a:lstStyle/>
        <a:p>
          <a:endParaRPr lang="en-US"/>
        </a:p>
      </dgm:t>
    </dgm:pt>
    <dgm:pt modelId="{830A559A-10D1-4DF4-96D6-8CDD35415CE6}" type="pres">
      <dgm:prSet presAssocID="{9EEBAE53-45AF-4C2F-999D-1AF2B8713C50}" presName="hierChild5" presStyleCnt="0"/>
      <dgm:spPr/>
    </dgm:pt>
    <dgm:pt modelId="{2EF1D5BF-FE39-424C-BDFB-AF2BDBD96912}" type="pres">
      <dgm:prSet presAssocID="{7A5D4D8B-4C2A-46DA-A7E4-955EE6B7E149}" presName="Name23" presStyleLbl="parChTrans1D4" presStyleIdx="2" presStyleCnt="8"/>
      <dgm:spPr/>
      <dgm:t>
        <a:bodyPr/>
        <a:lstStyle/>
        <a:p>
          <a:endParaRPr lang="en-US"/>
        </a:p>
      </dgm:t>
    </dgm:pt>
    <dgm:pt modelId="{E015A62E-C7D2-4333-B34F-95EBF966733A}" type="pres">
      <dgm:prSet presAssocID="{EBCB40D0-388E-4A5C-8B07-06ADC0A3659B}" presName="hierRoot4" presStyleCnt="0"/>
      <dgm:spPr/>
    </dgm:pt>
    <dgm:pt modelId="{35F30BA4-B47F-4686-92FA-E2BFD220AB10}" type="pres">
      <dgm:prSet presAssocID="{EBCB40D0-388E-4A5C-8B07-06ADC0A3659B}" presName="composite4" presStyleCnt="0"/>
      <dgm:spPr/>
    </dgm:pt>
    <dgm:pt modelId="{EBA4A15E-6066-4EF6-9E5C-DB061DCC815F}" type="pres">
      <dgm:prSet presAssocID="{EBCB40D0-388E-4A5C-8B07-06ADC0A3659B}" presName="background4" presStyleLbl="node4" presStyleIdx="2" presStyleCnt="8"/>
      <dgm:spPr/>
    </dgm:pt>
    <dgm:pt modelId="{7F5BC6CC-8AFA-4740-B309-517D265391B9}" type="pres">
      <dgm:prSet presAssocID="{EBCB40D0-388E-4A5C-8B07-06ADC0A3659B}" presName="text4" presStyleLbl="fgAcc4" presStyleIdx="2" presStyleCnt="8" custLinFactY="96486" custLinFactNeighborX="-30891" custLinFactNeighborY="100000">
        <dgm:presLayoutVars>
          <dgm:chPref val="3"/>
        </dgm:presLayoutVars>
      </dgm:prSet>
      <dgm:spPr/>
      <dgm:t>
        <a:bodyPr/>
        <a:lstStyle/>
        <a:p>
          <a:endParaRPr lang="en-US"/>
        </a:p>
      </dgm:t>
    </dgm:pt>
    <dgm:pt modelId="{AD44C51E-BA1D-4F71-923F-8E34EE1C1D9B}" type="pres">
      <dgm:prSet presAssocID="{EBCB40D0-388E-4A5C-8B07-06ADC0A3659B}" presName="hierChild5" presStyleCnt="0"/>
      <dgm:spPr/>
    </dgm:pt>
    <dgm:pt modelId="{3EABFACC-1A74-4B53-B8E3-828F93BC7FB1}" type="pres">
      <dgm:prSet presAssocID="{E83BF507-DC15-466E-8933-3A2A8EC7A7F6}" presName="Name23" presStyleLbl="parChTrans1D4" presStyleIdx="3" presStyleCnt="8"/>
      <dgm:spPr/>
      <dgm:t>
        <a:bodyPr/>
        <a:lstStyle/>
        <a:p>
          <a:endParaRPr lang="en-US"/>
        </a:p>
      </dgm:t>
    </dgm:pt>
    <dgm:pt modelId="{784FE2A0-FEB8-48E3-ADC7-4B7C1D5E39BC}" type="pres">
      <dgm:prSet presAssocID="{54722A84-882F-49A0-A0B4-BC4D4B473B10}" presName="hierRoot4" presStyleCnt="0"/>
      <dgm:spPr/>
    </dgm:pt>
    <dgm:pt modelId="{2D000A78-A140-4663-B2FF-65DAD67B9FA6}" type="pres">
      <dgm:prSet presAssocID="{54722A84-882F-49A0-A0B4-BC4D4B473B10}" presName="composite4" presStyleCnt="0"/>
      <dgm:spPr/>
    </dgm:pt>
    <dgm:pt modelId="{DECDC0E4-0ECB-4429-BE65-8DF4AC2FC9B5}" type="pres">
      <dgm:prSet presAssocID="{54722A84-882F-49A0-A0B4-BC4D4B473B10}" presName="background4" presStyleLbl="node4" presStyleIdx="3" presStyleCnt="8"/>
      <dgm:spPr/>
    </dgm:pt>
    <dgm:pt modelId="{A22D0D46-7DD6-4445-90D7-A82FE0AD5C32}" type="pres">
      <dgm:prSet presAssocID="{54722A84-882F-49A0-A0B4-BC4D4B473B10}" presName="text4" presStyleLbl="fgAcc4" presStyleIdx="3" presStyleCnt="8" custLinFactY="96486" custLinFactNeighborX="-30891" custLinFactNeighborY="100000">
        <dgm:presLayoutVars>
          <dgm:chPref val="3"/>
        </dgm:presLayoutVars>
      </dgm:prSet>
      <dgm:spPr/>
      <dgm:t>
        <a:bodyPr/>
        <a:lstStyle/>
        <a:p>
          <a:endParaRPr lang="en-US"/>
        </a:p>
      </dgm:t>
    </dgm:pt>
    <dgm:pt modelId="{DE5E9EAE-B6C6-493D-91AF-6F9B66475050}" type="pres">
      <dgm:prSet presAssocID="{54722A84-882F-49A0-A0B4-BC4D4B473B10}" presName="hierChild5" presStyleCnt="0"/>
      <dgm:spPr/>
    </dgm:pt>
    <dgm:pt modelId="{F09075D4-2643-405E-BA12-289E12764621}" type="pres">
      <dgm:prSet presAssocID="{CA49F61B-850F-4DD7-B146-42D0306D293F}" presName="Name17" presStyleLbl="parChTrans1D3" presStyleIdx="3" presStyleCnt="5"/>
      <dgm:spPr/>
      <dgm:t>
        <a:bodyPr/>
        <a:lstStyle/>
        <a:p>
          <a:endParaRPr lang="en-US"/>
        </a:p>
      </dgm:t>
    </dgm:pt>
    <dgm:pt modelId="{F4F4655C-B5B2-4B2F-B0F5-56D277EFE188}" type="pres">
      <dgm:prSet presAssocID="{8F023B86-C3D4-4180-8501-15512D1044D3}" presName="hierRoot3" presStyleCnt="0"/>
      <dgm:spPr/>
    </dgm:pt>
    <dgm:pt modelId="{DBB97C32-9F8B-4769-AD27-362AE19FCA69}" type="pres">
      <dgm:prSet presAssocID="{8F023B86-C3D4-4180-8501-15512D1044D3}" presName="composite3" presStyleCnt="0"/>
      <dgm:spPr/>
    </dgm:pt>
    <dgm:pt modelId="{892BD783-0BAE-4662-9039-2F513F624820}" type="pres">
      <dgm:prSet presAssocID="{8F023B86-C3D4-4180-8501-15512D1044D3}" presName="background3" presStyleLbl="node3" presStyleIdx="3" presStyleCnt="5"/>
      <dgm:spPr/>
    </dgm:pt>
    <dgm:pt modelId="{C6C52817-4B44-43FF-943A-0A59FE258801}" type="pres">
      <dgm:prSet presAssocID="{8F023B86-C3D4-4180-8501-15512D1044D3}" presName="text3" presStyleLbl="fgAcc3" presStyleIdx="3" presStyleCnt="5" custScaleX="176908" custLinFactNeighborY="35977">
        <dgm:presLayoutVars>
          <dgm:chPref val="3"/>
        </dgm:presLayoutVars>
      </dgm:prSet>
      <dgm:spPr/>
      <dgm:t>
        <a:bodyPr/>
        <a:lstStyle/>
        <a:p>
          <a:endParaRPr lang="en-US"/>
        </a:p>
      </dgm:t>
    </dgm:pt>
    <dgm:pt modelId="{8F5CFFBC-36A2-4434-806D-2420EC2F8252}" type="pres">
      <dgm:prSet presAssocID="{8F023B86-C3D4-4180-8501-15512D1044D3}" presName="hierChild4" presStyleCnt="0"/>
      <dgm:spPr/>
    </dgm:pt>
    <dgm:pt modelId="{DAC6D09B-9508-4E42-BB88-9F851BB61AB4}" type="pres">
      <dgm:prSet presAssocID="{243533DC-0AB6-4E88-96B5-B621C2CC39C5}" presName="Name10" presStyleLbl="parChTrans1D2" presStyleIdx="1" presStyleCnt="2"/>
      <dgm:spPr/>
      <dgm:t>
        <a:bodyPr/>
        <a:lstStyle/>
        <a:p>
          <a:endParaRPr lang="en-US"/>
        </a:p>
      </dgm:t>
    </dgm:pt>
    <dgm:pt modelId="{C885FDD5-459C-40A0-A39C-AB7DEB6E23FD}" type="pres">
      <dgm:prSet presAssocID="{88DE314C-82FF-4409-8FF8-6137D509FAA8}" presName="hierRoot2" presStyleCnt="0"/>
      <dgm:spPr/>
    </dgm:pt>
    <dgm:pt modelId="{1649045C-8FCD-472F-B567-BB08B1B0C29F}" type="pres">
      <dgm:prSet presAssocID="{88DE314C-82FF-4409-8FF8-6137D509FAA8}" presName="composite2" presStyleCnt="0"/>
      <dgm:spPr/>
    </dgm:pt>
    <dgm:pt modelId="{44FA0A5B-7DE0-44CF-89BB-DF6CFDF3AAA9}" type="pres">
      <dgm:prSet presAssocID="{88DE314C-82FF-4409-8FF8-6137D509FAA8}" presName="background2" presStyleLbl="node2" presStyleIdx="1" presStyleCnt="2"/>
      <dgm:spPr/>
    </dgm:pt>
    <dgm:pt modelId="{D2A13974-49C9-4C59-A663-2AFF1E04FF24}" type="pres">
      <dgm:prSet presAssocID="{88DE314C-82FF-4409-8FF8-6137D509FAA8}" presName="text2" presStyleLbl="fgAcc2" presStyleIdx="1" presStyleCnt="2" custScaleX="157696" custLinFactX="5153" custLinFactNeighborX="100000">
        <dgm:presLayoutVars>
          <dgm:chPref val="3"/>
        </dgm:presLayoutVars>
      </dgm:prSet>
      <dgm:spPr/>
      <dgm:t>
        <a:bodyPr/>
        <a:lstStyle/>
        <a:p>
          <a:endParaRPr lang="en-US"/>
        </a:p>
      </dgm:t>
    </dgm:pt>
    <dgm:pt modelId="{AA6A6B55-C79C-4823-8A77-FA2830FBB4F2}" type="pres">
      <dgm:prSet presAssocID="{88DE314C-82FF-4409-8FF8-6137D509FAA8}" presName="hierChild3" presStyleCnt="0"/>
      <dgm:spPr/>
    </dgm:pt>
    <dgm:pt modelId="{5938FA1C-A9B8-4D32-8F9D-BB02D862FD3A}" type="pres">
      <dgm:prSet presAssocID="{CCA3614F-4976-4286-AAD0-85FC52AB8E85}" presName="Name17" presStyleLbl="parChTrans1D3" presStyleIdx="4" presStyleCnt="5"/>
      <dgm:spPr/>
      <dgm:t>
        <a:bodyPr/>
        <a:lstStyle/>
        <a:p>
          <a:endParaRPr lang="en-US"/>
        </a:p>
      </dgm:t>
    </dgm:pt>
    <dgm:pt modelId="{6D6E249C-9C43-4AD9-9F4E-3BD1E1357F41}" type="pres">
      <dgm:prSet presAssocID="{35589B89-A81C-498F-A40D-52326D54F81A}" presName="hierRoot3" presStyleCnt="0"/>
      <dgm:spPr/>
    </dgm:pt>
    <dgm:pt modelId="{EDD0BACE-E5ED-40E0-BA50-C37967D71A98}" type="pres">
      <dgm:prSet presAssocID="{35589B89-A81C-498F-A40D-52326D54F81A}" presName="composite3" presStyleCnt="0"/>
      <dgm:spPr/>
    </dgm:pt>
    <dgm:pt modelId="{81EE9F97-E301-4012-BCE3-704C27061FC3}" type="pres">
      <dgm:prSet presAssocID="{35589B89-A81C-498F-A40D-52326D54F81A}" presName="background3" presStyleLbl="node3" presStyleIdx="4" presStyleCnt="5"/>
      <dgm:spPr/>
    </dgm:pt>
    <dgm:pt modelId="{E6E07130-4990-40B3-A896-194AE1DDE5F4}" type="pres">
      <dgm:prSet presAssocID="{35589B89-A81C-498F-A40D-52326D54F81A}" presName="text3" presStyleLbl="fgAcc3" presStyleIdx="4" presStyleCnt="5" custScaleX="157696" custLinFactX="5153" custLinFactNeighborX="100000">
        <dgm:presLayoutVars>
          <dgm:chPref val="3"/>
        </dgm:presLayoutVars>
      </dgm:prSet>
      <dgm:spPr/>
      <dgm:t>
        <a:bodyPr/>
        <a:lstStyle/>
        <a:p>
          <a:endParaRPr lang="en-US"/>
        </a:p>
      </dgm:t>
    </dgm:pt>
    <dgm:pt modelId="{06E9D7A3-9637-45A7-8D52-D76423A894F6}" type="pres">
      <dgm:prSet presAssocID="{35589B89-A81C-498F-A40D-52326D54F81A}" presName="hierChild4" presStyleCnt="0"/>
      <dgm:spPr/>
    </dgm:pt>
    <dgm:pt modelId="{B7525475-420F-4751-A25B-54021042255C}" type="pres">
      <dgm:prSet presAssocID="{FF764FFD-0286-447A-AD06-E90307CE3818}" presName="Name23" presStyleLbl="parChTrans1D4" presStyleIdx="4" presStyleCnt="8"/>
      <dgm:spPr/>
      <dgm:t>
        <a:bodyPr/>
        <a:lstStyle/>
        <a:p>
          <a:endParaRPr lang="en-US"/>
        </a:p>
      </dgm:t>
    </dgm:pt>
    <dgm:pt modelId="{B3C42CE5-730B-41A9-BCE3-072211C98282}" type="pres">
      <dgm:prSet presAssocID="{2D016F77-5B7B-4287-AAD2-9ACF11118D61}" presName="hierRoot4" presStyleCnt="0"/>
      <dgm:spPr/>
    </dgm:pt>
    <dgm:pt modelId="{6121E195-F188-4BF1-9CDF-E1642350FBAA}" type="pres">
      <dgm:prSet presAssocID="{2D016F77-5B7B-4287-AAD2-9ACF11118D61}" presName="composite4" presStyleCnt="0"/>
      <dgm:spPr/>
    </dgm:pt>
    <dgm:pt modelId="{70D1A7E2-4050-49B8-831C-762E9CB45681}" type="pres">
      <dgm:prSet presAssocID="{2D016F77-5B7B-4287-AAD2-9ACF11118D61}" presName="background4" presStyleLbl="node4" presStyleIdx="4" presStyleCnt="8"/>
      <dgm:spPr/>
    </dgm:pt>
    <dgm:pt modelId="{A464CB9B-1248-4288-A610-626F4C80E329}" type="pres">
      <dgm:prSet presAssocID="{2D016F77-5B7B-4287-AAD2-9ACF11118D61}" presName="text4" presStyleLbl="fgAcc4" presStyleIdx="4" presStyleCnt="8" custScaleX="157696" custLinFactX="5153" custLinFactNeighborX="100000">
        <dgm:presLayoutVars>
          <dgm:chPref val="3"/>
        </dgm:presLayoutVars>
      </dgm:prSet>
      <dgm:spPr/>
      <dgm:t>
        <a:bodyPr/>
        <a:lstStyle/>
        <a:p>
          <a:endParaRPr lang="en-US"/>
        </a:p>
      </dgm:t>
    </dgm:pt>
    <dgm:pt modelId="{CF8898F6-C689-4EE5-81D3-884C232EDC6A}" type="pres">
      <dgm:prSet presAssocID="{2D016F77-5B7B-4287-AAD2-9ACF11118D61}" presName="hierChild5" presStyleCnt="0"/>
      <dgm:spPr/>
    </dgm:pt>
    <dgm:pt modelId="{F4C87081-669C-407B-8D4D-795C79BBAD67}" type="pres">
      <dgm:prSet presAssocID="{45DA8458-B0CF-4171-A2F0-49BF76B96B93}" presName="Name23" presStyleLbl="parChTrans1D4" presStyleIdx="5" presStyleCnt="8"/>
      <dgm:spPr/>
      <dgm:t>
        <a:bodyPr/>
        <a:lstStyle/>
        <a:p>
          <a:endParaRPr lang="en-US"/>
        </a:p>
      </dgm:t>
    </dgm:pt>
    <dgm:pt modelId="{1F58373B-65A8-47BC-A84D-5904EEFB405D}" type="pres">
      <dgm:prSet presAssocID="{DC574E55-49B2-4709-AEF7-311C392DB89D}" presName="hierRoot4" presStyleCnt="0"/>
      <dgm:spPr/>
    </dgm:pt>
    <dgm:pt modelId="{C21E6C09-1677-4B34-8A75-6037587E7EDD}" type="pres">
      <dgm:prSet presAssocID="{DC574E55-49B2-4709-AEF7-311C392DB89D}" presName="composite4" presStyleCnt="0"/>
      <dgm:spPr/>
    </dgm:pt>
    <dgm:pt modelId="{85ECD1C6-E83E-4401-83F8-A06DA83E6E44}" type="pres">
      <dgm:prSet presAssocID="{DC574E55-49B2-4709-AEF7-311C392DB89D}" presName="background4" presStyleLbl="node4" presStyleIdx="5" presStyleCnt="8"/>
      <dgm:spPr/>
    </dgm:pt>
    <dgm:pt modelId="{5A491BC5-C05B-423A-997F-C9E2EA36BF9A}" type="pres">
      <dgm:prSet presAssocID="{DC574E55-49B2-4709-AEF7-311C392DB89D}" presName="text4" presStyleLbl="fgAcc4" presStyleIdx="5" presStyleCnt="8" custScaleX="80854" custLinFactX="5153" custLinFactNeighborX="100000">
        <dgm:presLayoutVars>
          <dgm:chPref val="3"/>
        </dgm:presLayoutVars>
      </dgm:prSet>
      <dgm:spPr/>
      <dgm:t>
        <a:bodyPr/>
        <a:lstStyle/>
        <a:p>
          <a:endParaRPr lang="en-US"/>
        </a:p>
      </dgm:t>
    </dgm:pt>
    <dgm:pt modelId="{E0CA22CC-7AD6-466A-B940-DEAB674EB30A}" type="pres">
      <dgm:prSet presAssocID="{DC574E55-49B2-4709-AEF7-311C392DB89D}" presName="hierChild5" presStyleCnt="0"/>
      <dgm:spPr/>
    </dgm:pt>
    <dgm:pt modelId="{5516B0FE-A866-4925-AD64-2E8CE1A3360C}" type="pres">
      <dgm:prSet presAssocID="{D27DB433-D15F-44FE-9C34-DF04AE438856}" presName="Name23" presStyleLbl="parChTrans1D4" presStyleIdx="6" presStyleCnt="8"/>
      <dgm:spPr/>
      <dgm:t>
        <a:bodyPr/>
        <a:lstStyle/>
        <a:p>
          <a:endParaRPr lang="en-US"/>
        </a:p>
      </dgm:t>
    </dgm:pt>
    <dgm:pt modelId="{ED9ADA0E-B79C-4EE4-8B54-2E5A1B73EE6C}" type="pres">
      <dgm:prSet presAssocID="{0032AAD7-5869-4F76-8D1A-4B7083CDD0BC}" presName="hierRoot4" presStyleCnt="0"/>
      <dgm:spPr/>
    </dgm:pt>
    <dgm:pt modelId="{FFE0AAE0-AA16-4718-B90E-7EDE9DA377E0}" type="pres">
      <dgm:prSet presAssocID="{0032AAD7-5869-4F76-8D1A-4B7083CDD0BC}" presName="composite4" presStyleCnt="0"/>
      <dgm:spPr/>
    </dgm:pt>
    <dgm:pt modelId="{54C352EF-DD37-4F6C-A4B4-A513BF784842}" type="pres">
      <dgm:prSet presAssocID="{0032AAD7-5869-4F76-8D1A-4B7083CDD0BC}" presName="background4" presStyleLbl="node4" presStyleIdx="6" presStyleCnt="8"/>
      <dgm:spPr/>
    </dgm:pt>
    <dgm:pt modelId="{BF2D3024-2B8A-476C-83E2-2A5F81F8E990}" type="pres">
      <dgm:prSet presAssocID="{0032AAD7-5869-4F76-8D1A-4B7083CDD0BC}" presName="text4" presStyleLbl="fgAcc4" presStyleIdx="6" presStyleCnt="8" custScaleX="67563" custLinFactX="5153" custLinFactNeighborX="100000">
        <dgm:presLayoutVars>
          <dgm:chPref val="3"/>
        </dgm:presLayoutVars>
      </dgm:prSet>
      <dgm:spPr/>
      <dgm:t>
        <a:bodyPr/>
        <a:lstStyle/>
        <a:p>
          <a:endParaRPr lang="en-US"/>
        </a:p>
      </dgm:t>
    </dgm:pt>
    <dgm:pt modelId="{A982303D-13C9-405E-9883-BDFB171CFF4C}" type="pres">
      <dgm:prSet presAssocID="{0032AAD7-5869-4F76-8D1A-4B7083CDD0BC}" presName="hierChild5" presStyleCnt="0"/>
      <dgm:spPr/>
    </dgm:pt>
    <dgm:pt modelId="{04C4EA6B-0387-4141-88F2-9DC71EEC2411}" type="pres">
      <dgm:prSet presAssocID="{2068D1DD-29B3-48C0-BB6C-1D28B8970293}" presName="Name23" presStyleLbl="parChTrans1D4" presStyleIdx="7" presStyleCnt="8"/>
      <dgm:spPr/>
      <dgm:t>
        <a:bodyPr/>
        <a:lstStyle/>
        <a:p>
          <a:endParaRPr lang="en-US"/>
        </a:p>
      </dgm:t>
    </dgm:pt>
    <dgm:pt modelId="{9F5D4672-56CE-4A18-8BCC-E00C0BC3EA25}" type="pres">
      <dgm:prSet presAssocID="{02313072-4204-46A4-B002-182EC5EB368A}" presName="hierRoot4" presStyleCnt="0"/>
      <dgm:spPr/>
    </dgm:pt>
    <dgm:pt modelId="{BEA97C26-23E5-4A68-8DD2-E4DB4F1CB6E4}" type="pres">
      <dgm:prSet presAssocID="{02313072-4204-46A4-B002-182EC5EB368A}" presName="composite4" presStyleCnt="0"/>
      <dgm:spPr/>
    </dgm:pt>
    <dgm:pt modelId="{D2050270-B5D9-44C9-B1D9-D359BCD0C9B9}" type="pres">
      <dgm:prSet presAssocID="{02313072-4204-46A4-B002-182EC5EB368A}" presName="background4" presStyleLbl="node4" presStyleIdx="7" presStyleCnt="8"/>
      <dgm:spPr/>
    </dgm:pt>
    <dgm:pt modelId="{CC49F64B-5611-4F7A-8A29-33142B67A7C2}" type="pres">
      <dgm:prSet presAssocID="{02313072-4204-46A4-B002-182EC5EB368A}" presName="text4" presStyleLbl="fgAcc4" presStyleIdx="7" presStyleCnt="8" custScaleX="157696" custLinFactX="5153" custLinFactNeighborX="100000">
        <dgm:presLayoutVars>
          <dgm:chPref val="3"/>
        </dgm:presLayoutVars>
      </dgm:prSet>
      <dgm:spPr/>
      <dgm:t>
        <a:bodyPr/>
        <a:lstStyle/>
        <a:p>
          <a:endParaRPr lang="en-US"/>
        </a:p>
      </dgm:t>
    </dgm:pt>
    <dgm:pt modelId="{1F6243D8-BF58-4563-AB35-ABEAC8733CAD}" type="pres">
      <dgm:prSet presAssocID="{02313072-4204-46A4-B002-182EC5EB368A}" presName="hierChild5" presStyleCnt="0"/>
      <dgm:spPr/>
    </dgm:pt>
  </dgm:ptLst>
  <dgm:cxnLst>
    <dgm:cxn modelId="{7DBDAFAC-12FF-47B5-BF10-7337E89AB7CA}" srcId="{BBD0362E-C80F-48B9-93FA-C235345BDE34}" destId="{EBCB40D0-388E-4A5C-8B07-06ADC0A3659B}" srcOrd="2" destOrd="0" parTransId="{7A5D4D8B-4C2A-46DA-A7E4-955EE6B7E149}" sibTransId="{4061A55D-C5DD-4C2A-82F4-4D0B68BEFEEA}"/>
    <dgm:cxn modelId="{7A7B8F74-CD4C-433A-9900-A7A27D0F4676}" type="presOf" srcId="{45A0D40D-1614-47FC-A027-FC37ECB249D5}" destId="{451418BD-3CEA-4A9E-96CB-50D2AAC13F5B}" srcOrd="0" destOrd="0" presId="urn:microsoft.com/office/officeart/2005/8/layout/hierarchy1"/>
    <dgm:cxn modelId="{CE8BAFBF-3C12-4D90-B091-2AED86664086}" type="presOf" srcId="{FF764FFD-0286-447A-AD06-E90307CE3818}" destId="{B7525475-420F-4751-A25B-54021042255C}" srcOrd="0" destOrd="0" presId="urn:microsoft.com/office/officeart/2005/8/layout/hierarchy1"/>
    <dgm:cxn modelId="{1245C50C-BAB8-404B-944C-583ECB8D784E}" type="presOf" srcId="{CA49F61B-850F-4DD7-B146-42D0306D293F}" destId="{F09075D4-2643-405E-BA12-289E12764621}" srcOrd="0" destOrd="0" presId="urn:microsoft.com/office/officeart/2005/8/layout/hierarchy1"/>
    <dgm:cxn modelId="{D3612E01-BC2F-4322-8C92-65EA4B0286A8}" type="presOf" srcId="{18300786-5B36-4119-9F75-E4B9C3DA0329}" destId="{40F20D98-87C6-49E3-BD49-A9EE8981E798}" srcOrd="0" destOrd="0" presId="urn:microsoft.com/office/officeart/2005/8/layout/hierarchy1"/>
    <dgm:cxn modelId="{3EFEEBB9-512D-4622-AA6C-7AE8CFA254F4}" srcId="{775095E3-413C-4BBC-A27A-70E59C7EB9FC}" destId="{88DE314C-82FF-4409-8FF8-6137D509FAA8}" srcOrd="1" destOrd="0" parTransId="{243533DC-0AB6-4E88-96B5-B621C2CC39C5}" sibTransId="{C6CFB511-47E0-4104-A11B-3FD02B9E3DB4}"/>
    <dgm:cxn modelId="{CA01FBFB-C658-4B4B-BA87-3CFC95800D72}" type="presOf" srcId="{02313072-4204-46A4-B002-182EC5EB368A}" destId="{CC49F64B-5611-4F7A-8A29-33142B67A7C2}" srcOrd="0" destOrd="0" presId="urn:microsoft.com/office/officeart/2005/8/layout/hierarchy1"/>
    <dgm:cxn modelId="{1FABA955-6E2D-4987-A239-8E68A49A75A8}" type="presOf" srcId="{D97883BE-C2D9-4AE8-8F4A-123CA05E1F28}" destId="{19037FAF-CD41-4629-A29D-0ECDD57ADCC1}" srcOrd="0" destOrd="0" presId="urn:microsoft.com/office/officeart/2005/8/layout/hierarchy1"/>
    <dgm:cxn modelId="{9CB8C222-3696-4B52-81FB-D471ED6F1195}" type="presOf" srcId="{243533DC-0AB6-4E88-96B5-B621C2CC39C5}" destId="{DAC6D09B-9508-4E42-BB88-9F851BB61AB4}" srcOrd="0" destOrd="0" presId="urn:microsoft.com/office/officeart/2005/8/layout/hierarchy1"/>
    <dgm:cxn modelId="{F3EA3DC4-798E-4807-88A5-2698E38FFDDF}" type="presOf" srcId="{2068D1DD-29B3-48C0-BB6C-1D28B8970293}" destId="{04C4EA6B-0387-4141-88F2-9DC71EEC2411}" srcOrd="0" destOrd="0" presId="urn:microsoft.com/office/officeart/2005/8/layout/hierarchy1"/>
    <dgm:cxn modelId="{1FE544BD-6E11-40A6-BECC-EDEF5D862673}" type="presOf" srcId="{DC08CCAD-A312-4A4A-8438-0618A61732F9}" destId="{A0BDA28F-584B-4D3B-BB53-565590C70D6A}" srcOrd="0" destOrd="0" presId="urn:microsoft.com/office/officeart/2005/8/layout/hierarchy1"/>
    <dgm:cxn modelId="{F1DE992A-B1B7-423E-A39D-1EF2AAB8F1D2}" type="presOf" srcId="{4FEA9DEF-6713-4355-929D-6DE7847C09E1}" destId="{E4A8E28D-759B-4237-B077-AA490C087C51}" srcOrd="0" destOrd="0" presId="urn:microsoft.com/office/officeart/2005/8/layout/hierarchy1"/>
    <dgm:cxn modelId="{94FB8302-9591-421E-9762-441EA1A74B73}" srcId="{DC08CCAD-A312-4A4A-8438-0618A61732F9}" destId="{D97883BE-C2D9-4AE8-8F4A-123CA05E1F28}" srcOrd="0" destOrd="0" parTransId="{57844AF8-30E8-44EF-9928-CEE954EC6244}" sibTransId="{420E9054-FF5A-4C62-BF44-B7743C84FF87}"/>
    <dgm:cxn modelId="{564598D8-7F63-4479-9509-A4A381E84BA4}" type="presOf" srcId="{2D016F77-5B7B-4287-AAD2-9ACF11118D61}" destId="{A464CB9B-1248-4288-A610-626F4C80E329}" srcOrd="0" destOrd="0" presId="urn:microsoft.com/office/officeart/2005/8/layout/hierarchy1"/>
    <dgm:cxn modelId="{39F926E4-0ACC-42E8-8E83-09B5896062D7}" srcId="{DC08CCAD-A312-4A4A-8438-0618A61732F9}" destId="{18300786-5B36-4119-9F75-E4B9C3DA0329}" srcOrd="1" destOrd="0" parTransId="{338EF931-ACD6-407A-9659-8FD3143EC51D}" sibTransId="{B292E6F0-3744-44FD-A90E-815BD9807CA4}"/>
    <dgm:cxn modelId="{C6698ED3-5F94-4746-993A-4AE602B50175}" type="presOf" srcId="{57844AF8-30E8-44EF-9928-CEE954EC6244}" destId="{77B9A075-036D-4705-B832-EA1F385B1198}" srcOrd="0" destOrd="0" presId="urn:microsoft.com/office/officeart/2005/8/layout/hierarchy1"/>
    <dgm:cxn modelId="{3D2D7C6F-39ED-4D80-9FDB-C587A07DD6B8}" type="presOf" srcId="{775095E3-413C-4BBC-A27A-70E59C7EB9FC}" destId="{089CAA36-72E1-4611-8406-70E00B8D7239}" srcOrd="0" destOrd="0" presId="urn:microsoft.com/office/officeart/2005/8/layout/hierarchy1"/>
    <dgm:cxn modelId="{451DDB92-1D1A-4A51-BAF4-7F1F57CA2BED}" type="presOf" srcId="{D27DB433-D15F-44FE-9C34-DF04AE438856}" destId="{5516B0FE-A866-4925-AD64-2E8CE1A3360C}" srcOrd="0" destOrd="0" presId="urn:microsoft.com/office/officeart/2005/8/layout/hierarchy1"/>
    <dgm:cxn modelId="{8DD5B885-D585-4B04-9DD0-0019C4350B01}" type="presOf" srcId="{338EF931-ACD6-407A-9659-8FD3143EC51D}" destId="{D04199B7-CCDB-4FAA-8A4D-E389D665C941}" srcOrd="0" destOrd="0" presId="urn:microsoft.com/office/officeart/2005/8/layout/hierarchy1"/>
    <dgm:cxn modelId="{2A84FF4B-2652-4737-8D5D-C1BF7AA2C963}" type="presOf" srcId="{8F023B86-C3D4-4180-8501-15512D1044D3}" destId="{C6C52817-4B44-43FF-943A-0A59FE258801}" srcOrd="0" destOrd="0" presId="urn:microsoft.com/office/officeart/2005/8/layout/hierarchy1"/>
    <dgm:cxn modelId="{EC7A0D05-C2DB-437F-A03B-7831F43D04D0}" type="presOf" srcId="{9EEBAE53-45AF-4C2F-999D-1AF2B8713C50}" destId="{EA9B1780-0668-412E-AD67-238366C21981}" srcOrd="0" destOrd="0" presId="urn:microsoft.com/office/officeart/2005/8/layout/hierarchy1"/>
    <dgm:cxn modelId="{1234F341-23A6-414C-9F97-7EC64B530003}" srcId="{35589B89-A81C-498F-A40D-52326D54F81A}" destId="{2D016F77-5B7B-4287-AAD2-9ACF11118D61}" srcOrd="0" destOrd="0" parTransId="{FF764FFD-0286-447A-AD06-E90307CE3818}" sibTransId="{FF59C257-6514-40DA-AB9E-02DE98AC5F83}"/>
    <dgm:cxn modelId="{17FAFB3E-2B6E-4D9A-9C3A-3914098121E1}" srcId="{2D016F77-5B7B-4287-AAD2-9ACF11118D61}" destId="{0032AAD7-5869-4F76-8D1A-4B7083CDD0BC}" srcOrd="1" destOrd="0" parTransId="{D27DB433-D15F-44FE-9C34-DF04AE438856}" sibTransId="{95C8B4C0-35DC-4C20-8BEA-BFB05A31F563}"/>
    <dgm:cxn modelId="{7CEC5709-CE97-4B64-9942-6E52CFF1068A}" srcId="{4FEA9DEF-6713-4355-929D-6DE7847C09E1}" destId="{775095E3-413C-4BBC-A27A-70E59C7EB9FC}" srcOrd="0" destOrd="0" parTransId="{8F966845-A0C9-47BA-B390-0F04931C2FB4}" sibTransId="{73C65178-610E-4C67-9DF4-9B3A412CDA07}"/>
    <dgm:cxn modelId="{BFDCD556-BB83-43B1-995F-50B1901DBDE2}" srcId="{0032AAD7-5869-4F76-8D1A-4B7083CDD0BC}" destId="{02313072-4204-46A4-B002-182EC5EB368A}" srcOrd="0" destOrd="0" parTransId="{2068D1DD-29B3-48C0-BB6C-1D28B8970293}" sibTransId="{25F80A84-07D9-4E34-A98F-C7797AE522F1}"/>
    <dgm:cxn modelId="{E791D094-9621-4F74-BF8F-5441D7D22585}" srcId="{2D016F77-5B7B-4287-AAD2-9ACF11118D61}" destId="{DC574E55-49B2-4709-AEF7-311C392DB89D}" srcOrd="0" destOrd="0" parTransId="{45DA8458-B0CF-4171-A2F0-49BF76B96B93}" sibTransId="{1D7D159B-E738-44FC-98F9-58A80A131897}"/>
    <dgm:cxn modelId="{C978D8D0-07B1-4351-B3AD-2F7D11F08404}" srcId="{BBD0362E-C80F-48B9-93FA-C235345BDE34}" destId="{54722A84-882F-49A0-A0B4-BC4D4B473B10}" srcOrd="3" destOrd="0" parTransId="{E83BF507-DC15-466E-8933-3A2A8EC7A7F6}" sibTransId="{942BC238-B9B4-4436-A75D-F33BE667DAAB}"/>
    <dgm:cxn modelId="{7C0E4A5B-6518-4A51-ACBE-9BB72E9EE4A9}" srcId="{BBD0362E-C80F-48B9-93FA-C235345BDE34}" destId="{EDFF194D-C1F1-42BE-97AA-8E2C60026689}" srcOrd="0" destOrd="0" parTransId="{093C1E4D-ED12-4C40-BD29-7044CB1E7BBB}" sibTransId="{0301CD3F-0AA5-4C64-B74B-3D242C7AE1C2}"/>
    <dgm:cxn modelId="{FAE912CC-3DE0-4F14-9104-F117F20C2753}" type="presOf" srcId="{7A5D4D8B-4C2A-46DA-A7E4-955EE6B7E149}" destId="{2EF1D5BF-FE39-424C-BDFB-AF2BDBD96912}" srcOrd="0" destOrd="0" presId="urn:microsoft.com/office/officeart/2005/8/layout/hierarchy1"/>
    <dgm:cxn modelId="{59D7A6E9-3868-4F9D-8DC0-FEF1C731CBEA}" type="presOf" srcId="{DC574E55-49B2-4709-AEF7-311C392DB89D}" destId="{5A491BC5-C05B-423A-997F-C9E2EA36BF9A}" srcOrd="0" destOrd="0" presId="urn:microsoft.com/office/officeart/2005/8/layout/hierarchy1"/>
    <dgm:cxn modelId="{D9152C25-147F-4B93-B158-B2D7B5A6395C}" srcId="{DC08CCAD-A312-4A4A-8438-0618A61732F9}" destId="{BBD0362E-C80F-48B9-93FA-C235345BDE34}" srcOrd="2" destOrd="0" parTransId="{B74A03A5-8106-4236-898A-DD71BC62CC5E}" sibTransId="{7E021F25-1748-4FBA-9FA2-8E6C6B2E6184}"/>
    <dgm:cxn modelId="{CC81DF8F-3D8D-4687-8902-89EDD03AF25F}" type="presOf" srcId="{CCA3614F-4976-4286-AAD0-85FC52AB8E85}" destId="{5938FA1C-A9B8-4D32-8F9D-BB02D862FD3A}" srcOrd="0" destOrd="0" presId="urn:microsoft.com/office/officeart/2005/8/layout/hierarchy1"/>
    <dgm:cxn modelId="{D06035D7-B7CF-4DFA-9DE5-384BE56D58F9}" type="presOf" srcId="{BBD0362E-C80F-48B9-93FA-C235345BDE34}" destId="{22ED504D-E1DD-41F7-9B5D-69DFE1698839}" srcOrd="0" destOrd="0" presId="urn:microsoft.com/office/officeart/2005/8/layout/hierarchy1"/>
    <dgm:cxn modelId="{6C8C3C3B-5BBE-4FD7-B14E-068E7AFC1BC8}" type="presOf" srcId="{B74A03A5-8106-4236-898A-DD71BC62CC5E}" destId="{902C571E-94E6-4D43-B505-22B9E7A63F98}" srcOrd="0" destOrd="0" presId="urn:microsoft.com/office/officeart/2005/8/layout/hierarchy1"/>
    <dgm:cxn modelId="{4321D95C-ADE1-4DB0-9592-C5099F1A5668}" srcId="{775095E3-413C-4BBC-A27A-70E59C7EB9FC}" destId="{DC08CCAD-A312-4A4A-8438-0618A61732F9}" srcOrd="0" destOrd="0" parTransId="{83F7EF31-E1E7-48EB-843E-9283A49006C6}" sibTransId="{C682D910-FA14-4B6A-BF44-33D7B0702E5F}"/>
    <dgm:cxn modelId="{2AF63901-DF31-45DE-9883-228B8040081C}" type="presOf" srcId="{83F7EF31-E1E7-48EB-843E-9283A49006C6}" destId="{46373476-9C28-4ACC-BD03-DF72037A107A}" srcOrd="0" destOrd="0" presId="urn:microsoft.com/office/officeart/2005/8/layout/hierarchy1"/>
    <dgm:cxn modelId="{8AEA7CD3-00B4-4357-83C8-2AE0671338A7}" type="presOf" srcId="{45DA8458-B0CF-4171-A2F0-49BF76B96B93}" destId="{F4C87081-669C-407B-8D4D-795C79BBAD67}" srcOrd="0" destOrd="0" presId="urn:microsoft.com/office/officeart/2005/8/layout/hierarchy1"/>
    <dgm:cxn modelId="{783862BD-B2B4-41BE-A28B-8361B03224B8}" srcId="{DC08CCAD-A312-4A4A-8438-0618A61732F9}" destId="{8F023B86-C3D4-4180-8501-15512D1044D3}" srcOrd="3" destOrd="0" parTransId="{CA49F61B-850F-4DD7-B146-42D0306D293F}" sibTransId="{ECB62B7D-16F9-4288-AB28-FF20974942D1}"/>
    <dgm:cxn modelId="{BE7DA678-9E14-431A-995A-4837F8C78BE5}" type="presOf" srcId="{88DE314C-82FF-4409-8FF8-6137D509FAA8}" destId="{D2A13974-49C9-4C59-A663-2AFF1E04FF24}" srcOrd="0" destOrd="0" presId="urn:microsoft.com/office/officeart/2005/8/layout/hierarchy1"/>
    <dgm:cxn modelId="{2B0CB810-6E8E-4BE1-973C-13FA46921C68}" srcId="{88DE314C-82FF-4409-8FF8-6137D509FAA8}" destId="{35589B89-A81C-498F-A40D-52326D54F81A}" srcOrd="0" destOrd="0" parTransId="{CCA3614F-4976-4286-AAD0-85FC52AB8E85}" sibTransId="{B230A0EE-1B59-4CC6-BAEE-1EB8D74C93ED}"/>
    <dgm:cxn modelId="{8D8F0EB9-3285-46CC-8F6C-8E489D844EF3}" type="presOf" srcId="{093C1E4D-ED12-4C40-BD29-7044CB1E7BBB}" destId="{9D6F1D67-00D7-44A5-A0A4-1D4F86B872F7}" srcOrd="0" destOrd="0" presId="urn:microsoft.com/office/officeart/2005/8/layout/hierarchy1"/>
    <dgm:cxn modelId="{589039E8-EBBE-49BF-B1F1-FC3E4FB594B8}" type="presOf" srcId="{E83BF507-DC15-466E-8933-3A2A8EC7A7F6}" destId="{3EABFACC-1A74-4B53-B8E3-828F93BC7FB1}" srcOrd="0" destOrd="0" presId="urn:microsoft.com/office/officeart/2005/8/layout/hierarchy1"/>
    <dgm:cxn modelId="{62E85427-CC21-48B7-A307-D6FA1F62F527}" type="presOf" srcId="{EBCB40D0-388E-4A5C-8B07-06ADC0A3659B}" destId="{7F5BC6CC-8AFA-4740-B309-517D265391B9}" srcOrd="0" destOrd="0" presId="urn:microsoft.com/office/officeart/2005/8/layout/hierarchy1"/>
    <dgm:cxn modelId="{9DD54293-1351-479D-BBD3-8696A238821F}" type="presOf" srcId="{0032AAD7-5869-4F76-8D1A-4B7083CDD0BC}" destId="{BF2D3024-2B8A-476C-83E2-2A5F81F8E990}" srcOrd="0" destOrd="0" presId="urn:microsoft.com/office/officeart/2005/8/layout/hierarchy1"/>
    <dgm:cxn modelId="{79A40183-3C9F-4BF8-AA62-51A91450AC31}" type="presOf" srcId="{35589B89-A81C-498F-A40D-52326D54F81A}" destId="{E6E07130-4990-40B3-A896-194AE1DDE5F4}" srcOrd="0" destOrd="0" presId="urn:microsoft.com/office/officeart/2005/8/layout/hierarchy1"/>
    <dgm:cxn modelId="{61F7F2B4-AFE2-4759-A888-4D982F633161}" type="presOf" srcId="{EDFF194D-C1F1-42BE-97AA-8E2C60026689}" destId="{4198534F-5110-4BAC-A3E1-52B137679B55}" srcOrd="0" destOrd="0" presId="urn:microsoft.com/office/officeart/2005/8/layout/hierarchy1"/>
    <dgm:cxn modelId="{E28A3A9C-DF2B-410F-8DEE-81477EB33543}" srcId="{BBD0362E-C80F-48B9-93FA-C235345BDE34}" destId="{9EEBAE53-45AF-4C2F-999D-1AF2B8713C50}" srcOrd="1" destOrd="0" parTransId="{45A0D40D-1614-47FC-A027-FC37ECB249D5}" sibTransId="{F608C293-B26F-4D6B-9602-EF7C8E8892D2}"/>
    <dgm:cxn modelId="{0EB1F70F-1BB0-48BB-89F2-FAD350815B07}" type="presOf" srcId="{54722A84-882F-49A0-A0B4-BC4D4B473B10}" destId="{A22D0D46-7DD6-4445-90D7-A82FE0AD5C32}" srcOrd="0" destOrd="0" presId="urn:microsoft.com/office/officeart/2005/8/layout/hierarchy1"/>
    <dgm:cxn modelId="{934D8C95-6B6A-446F-B5D1-FFEBF3F48DE1}" type="presParOf" srcId="{E4A8E28D-759B-4237-B077-AA490C087C51}" destId="{19F4C269-FDA3-46DE-A116-495689DE325E}" srcOrd="0" destOrd="0" presId="urn:microsoft.com/office/officeart/2005/8/layout/hierarchy1"/>
    <dgm:cxn modelId="{A6FB7F68-B16F-4BAD-89EA-4C5D0BA323FA}" type="presParOf" srcId="{19F4C269-FDA3-46DE-A116-495689DE325E}" destId="{7F9EE360-758F-4790-80DD-9B5FC6ACE593}" srcOrd="0" destOrd="0" presId="urn:microsoft.com/office/officeart/2005/8/layout/hierarchy1"/>
    <dgm:cxn modelId="{9EA510C5-0A62-481D-A119-BF5BABA4DA61}" type="presParOf" srcId="{7F9EE360-758F-4790-80DD-9B5FC6ACE593}" destId="{74C7193B-D405-4D73-AD0A-A196313B805E}" srcOrd="0" destOrd="0" presId="urn:microsoft.com/office/officeart/2005/8/layout/hierarchy1"/>
    <dgm:cxn modelId="{A1EB429C-5195-45BE-921A-EA7CFE88492F}" type="presParOf" srcId="{7F9EE360-758F-4790-80DD-9B5FC6ACE593}" destId="{089CAA36-72E1-4611-8406-70E00B8D7239}" srcOrd="1" destOrd="0" presId="urn:microsoft.com/office/officeart/2005/8/layout/hierarchy1"/>
    <dgm:cxn modelId="{1E205D9E-885B-4EB5-AC66-9782868AAC68}" type="presParOf" srcId="{19F4C269-FDA3-46DE-A116-495689DE325E}" destId="{B11B536A-C4F5-4B7C-AA75-E66EC1D4443A}" srcOrd="1" destOrd="0" presId="urn:microsoft.com/office/officeart/2005/8/layout/hierarchy1"/>
    <dgm:cxn modelId="{493EAD54-09FA-4D6B-99CE-AA3610342291}" type="presParOf" srcId="{B11B536A-C4F5-4B7C-AA75-E66EC1D4443A}" destId="{46373476-9C28-4ACC-BD03-DF72037A107A}" srcOrd="0" destOrd="0" presId="urn:microsoft.com/office/officeart/2005/8/layout/hierarchy1"/>
    <dgm:cxn modelId="{074937E0-E0EC-4F86-97A2-892E75A32A29}" type="presParOf" srcId="{B11B536A-C4F5-4B7C-AA75-E66EC1D4443A}" destId="{0986A699-A18B-4E4F-A1C0-FA0DE8DA9286}" srcOrd="1" destOrd="0" presId="urn:microsoft.com/office/officeart/2005/8/layout/hierarchy1"/>
    <dgm:cxn modelId="{BE267AA3-96E3-4857-9495-3FC36C8C1818}" type="presParOf" srcId="{0986A699-A18B-4E4F-A1C0-FA0DE8DA9286}" destId="{0D304504-2900-4D26-8AA4-6DAEA46EF953}" srcOrd="0" destOrd="0" presId="urn:microsoft.com/office/officeart/2005/8/layout/hierarchy1"/>
    <dgm:cxn modelId="{0C750C24-E02D-4BD5-A7FC-7AB22635C053}" type="presParOf" srcId="{0D304504-2900-4D26-8AA4-6DAEA46EF953}" destId="{C542465D-556D-4B58-BABC-CD934378022B}" srcOrd="0" destOrd="0" presId="urn:microsoft.com/office/officeart/2005/8/layout/hierarchy1"/>
    <dgm:cxn modelId="{B0744E2F-88DD-45D4-AB16-683D1F411128}" type="presParOf" srcId="{0D304504-2900-4D26-8AA4-6DAEA46EF953}" destId="{A0BDA28F-584B-4D3B-BB53-565590C70D6A}" srcOrd="1" destOrd="0" presId="urn:microsoft.com/office/officeart/2005/8/layout/hierarchy1"/>
    <dgm:cxn modelId="{03DB27B3-3755-43A9-B72C-CB1C3CD952C6}" type="presParOf" srcId="{0986A699-A18B-4E4F-A1C0-FA0DE8DA9286}" destId="{97450017-8F65-4CD8-867D-E03AD740DE42}" srcOrd="1" destOrd="0" presId="urn:microsoft.com/office/officeart/2005/8/layout/hierarchy1"/>
    <dgm:cxn modelId="{75C7D91E-DE10-4EA8-8CFE-18B0FFF4D606}" type="presParOf" srcId="{97450017-8F65-4CD8-867D-E03AD740DE42}" destId="{77B9A075-036D-4705-B832-EA1F385B1198}" srcOrd="0" destOrd="0" presId="urn:microsoft.com/office/officeart/2005/8/layout/hierarchy1"/>
    <dgm:cxn modelId="{C2490601-50F7-4E30-8EA0-AFFC0574E528}" type="presParOf" srcId="{97450017-8F65-4CD8-867D-E03AD740DE42}" destId="{BC8AC010-B754-4077-A617-10A383FA62D8}" srcOrd="1" destOrd="0" presId="urn:microsoft.com/office/officeart/2005/8/layout/hierarchy1"/>
    <dgm:cxn modelId="{A6A8BC81-064A-47F6-B4AA-160BB6F9AD88}" type="presParOf" srcId="{BC8AC010-B754-4077-A617-10A383FA62D8}" destId="{29E24218-D550-4966-8E4D-1AD60BFECEDD}" srcOrd="0" destOrd="0" presId="urn:microsoft.com/office/officeart/2005/8/layout/hierarchy1"/>
    <dgm:cxn modelId="{E5EDE110-75B7-4BDF-9687-4FDF63A0BA9C}" type="presParOf" srcId="{29E24218-D550-4966-8E4D-1AD60BFECEDD}" destId="{385C8A82-C1E0-4803-871C-E01E6AE0CA8D}" srcOrd="0" destOrd="0" presId="urn:microsoft.com/office/officeart/2005/8/layout/hierarchy1"/>
    <dgm:cxn modelId="{F1E444D1-5E8C-46B6-BBD1-D01B7CEA32B7}" type="presParOf" srcId="{29E24218-D550-4966-8E4D-1AD60BFECEDD}" destId="{19037FAF-CD41-4629-A29D-0ECDD57ADCC1}" srcOrd="1" destOrd="0" presId="urn:microsoft.com/office/officeart/2005/8/layout/hierarchy1"/>
    <dgm:cxn modelId="{4016E9C5-D0E1-4238-AC29-314A38EB7E4F}" type="presParOf" srcId="{BC8AC010-B754-4077-A617-10A383FA62D8}" destId="{6B1FBCB2-20EB-4944-8463-3C2F8C09EDAE}" srcOrd="1" destOrd="0" presId="urn:microsoft.com/office/officeart/2005/8/layout/hierarchy1"/>
    <dgm:cxn modelId="{E5EB6BBC-7DA2-40F2-BAAB-68A56BFD9F68}" type="presParOf" srcId="{97450017-8F65-4CD8-867D-E03AD740DE42}" destId="{D04199B7-CCDB-4FAA-8A4D-E389D665C941}" srcOrd="2" destOrd="0" presId="urn:microsoft.com/office/officeart/2005/8/layout/hierarchy1"/>
    <dgm:cxn modelId="{0122C494-117A-495A-93E6-27C4FFD164C8}" type="presParOf" srcId="{97450017-8F65-4CD8-867D-E03AD740DE42}" destId="{DB123C96-FB1F-43D5-81BB-6FA12D13809A}" srcOrd="3" destOrd="0" presId="urn:microsoft.com/office/officeart/2005/8/layout/hierarchy1"/>
    <dgm:cxn modelId="{D003DB3D-7AD7-482E-BC10-3555DB2DEDBB}" type="presParOf" srcId="{DB123C96-FB1F-43D5-81BB-6FA12D13809A}" destId="{B8EF4C89-AA58-42C8-9115-71B281765F67}" srcOrd="0" destOrd="0" presId="urn:microsoft.com/office/officeart/2005/8/layout/hierarchy1"/>
    <dgm:cxn modelId="{C2644F3A-4BF2-4BA1-82DD-5B26B1EB7D93}" type="presParOf" srcId="{B8EF4C89-AA58-42C8-9115-71B281765F67}" destId="{4BBD5CE3-6CC3-4CFA-B877-412598B12D4B}" srcOrd="0" destOrd="0" presId="urn:microsoft.com/office/officeart/2005/8/layout/hierarchy1"/>
    <dgm:cxn modelId="{A1814D75-B132-4D98-BC27-CB49FA8C032A}" type="presParOf" srcId="{B8EF4C89-AA58-42C8-9115-71B281765F67}" destId="{40F20D98-87C6-49E3-BD49-A9EE8981E798}" srcOrd="1" destOrd="0" presId="urn:microsoft.com/office/officeart/2005/8/layout/hierarchy1"/>
    <dgm:cxn modelId="{27A0F091-09E7-4137-B15B-20F41F481002}" type="presParOf" srcId="{DB123C96-FB1F-43D5-81BB-6FA12D13809A}" destId="{F7548F5B-63BE-41F2-846F-F75C86B20450}" srcOrd="1" destOrd="0" presId="urn:microsoft.com/office/officeart/2005/8/layout/hierarchy1"/>
    <dgm:cxn modelId="{4BF304BF-4A51-4C2D-83EB-F44B200E3B75}" type="presParOf" srcId="{97450017-8F65-4CD8-867D-E03AD740DE42}" destId="{902C571E-94E6-4D43-B505-22B9E7A63F98}" srcOrd="4" destOrd="0" presId="urn:microsoft.com/office/officeart/2005/8/layout/hierarchy1"/>
    <dgm:cxn modelId="{D3ACE8F6-9994-42A6-8F3D-B275030551D8}" type="presParOf" srcId="{97450017-8F65-4CD8-867D-E03AD740DE42}" destId="{695F7EEB-DD2F-4534-A325-FFB72B0BF24F}" srcOrd="5" destOrd="0" presId="urn:microsoft.com/office/officeart/2005/8/layout/hierarchy1"/>
    <dgm:cxn modelId="{0EDAE4E6-413D-4A2B-83B9-85272D17107D}" type="presParOf" srcId="{695F7EEB-DD2F-4534-A325-FFB72B0BF24F}" destId="{E3D79CF0-0B31-45BE-8C93-5EFB2669398A}" srcOrd="0" destOrd="0" presId="urn:microsoft.com/office/officeart/2005/8/layout/hierarchy1"/>
    <dgm:cxn modelId="{E200004B-80C3-4373-BA92-1F955F449303}" type="presParOf" srcId="{E3D79CF0-0B31-45BE-8C93-5EFB2669398A}" destId="{BA6379BF-646C-4F88-894B-C4868730EC07}" srcOrd="0" destOrd="0" presId="urn:microsoft.com/office/officeart/2005/8/layout/hierarchy1"/>
    <dgm:cxn modelId="{0C15F936-0FB0-45A1-94DA-563259682AF8}" type="presParOf" srcId="{E3D79CF0-0B31-45BE-8C93-5EFB2669398A}" destId="{22ED504D-E1DD-41F7-9B5D-69DFE1698839}" srcOrd="1" destOrd="0" presId="urn:microsoft.com/office/officeart/2005/8/layout/hierarchy1"/>
    <dgm:cxn modelId="{1CD66507-74E6-45D8-B6EC-14EDABD41991}" type="presParOf" srcId="{695F7EEB-DD2F-4534-A325-FFB72B0BF24F}" destId="{C7B1430F-4A2D-47F6-9DCA-EB1926944B39}" srcOrd="1" destOrd="0" presId="urn:microsoft.com/office/officeart/2005/8/layout/hierarchy1"/>
    <dgm:cxn modelId="{CC4D7FE0-1C5A-4EDF-81A3-667BA0E423D0}" type="presParOf" srcId="{C7B1430F-4A2D-47F6-9DCA-EB1926944B39}" destId="{9D6F1D67-00D7-44A5-A0A4-1D4F86B872F7}" srcOrd="0" destOrd="0" presId="urn:microsoft.com/office/officeart/2005/8/layout/hierarchy1"/>
    <dgm:cxn modelId="{E83D3691-D3F9-448F-8C3C-BFAB63B37418}" type="presParOf" srcId="{C7B1430F-4A2D-47F6-9DCA-EB1926944B39}" destId="{82CDB5EF-C91D-4BA5-B135-4819FAA3B534}" srcOrd="1" destOrd="0" presId="urn:microsoft.com/office/officeart/2005/8/layout/hierarchy1"/>
    <dgm:cxn modelId="{7582DB67-0A53-47D9-9CCD-D97AD8675B1B}" type="presParOf" srcId="{82CDB5EF-C91D-4BA5-B135-4819FAA3B534}" destId="{2CEBF2E7-86DD-4F38-BA4D-22592CC1D2EF}" srcOrd="0" destOrd="0" presId="urn:microsoft.com/office/officeart/2005/8/layout/hierarchy1"/>
    <dgm:cxn modelId="{ACAFF6D0-CD7B-4BF2-BF8D-B551F02EA93A}" type="presParOf" srcId="{2CEBF2E7-86DD-4F38-BA4D-22592CC1D2EF}" destId="{49A6C669-D310-444A-B73F-FFD357CF96AD}" srcOrd="0" destOrd="0" presId="urn:microsoft.com/office/officeart/2005/8/layout/hierarchy1"/>
    <dgm:cxn modelId="{E31DE254-1C75-4154-AE04-74FBB0C673D5}" type="presParOf" srcId="{2CEBF2E7-86DD-4F38-BA4D-22592CC1D2EF}" destId="{4198534F-5110-4BAC-A3E1-52B137679B55}" srcOrd="1" destOrd="0" presId="urn:microsoft.com/office/officeart/2005/8/layout/hierarchy1"/>
    <dgm:cxn modelId="{F04CE7EE-4AFB-48D0-976E-342AA5B6168D}" type="presParOf" srcId="{82CDB5EF-C91D-4BA5-B135-4819FAA3B534}" destId="{A193389C-8EAF-4324-A0AC-35DACE012140}" srcOrd="1" destOrd="0" presId="urn:microsoft.com/office/officeart/2005/8/layout/hierarchy1"/>
    <dgm:cxn modelId="{E852B0BC-D30D-4D87-88CE-EAC17B8E4A16}" type="presParOf" srcId="{C7B1430F-4A2D-47F6-9DCA-EB1926944B39}" destId="{451418BD-3CEA-4A9E-96CB-50D2AAC13F5B}" srcOrd="2" destOrd="0" presId="urn:microsoft.com/office/officeart/2005/8/layout/hierarchy1"/>
    <dgm:cxn modelId="{0A95E8E7-8907-4651-9EE1-8F0B270C5EF8}" type="presParOf" srcId="{C7B1430F-4A2D-47F6-9DCA-EB1926944B39}" destId="{3AF45F4A-B134-42E3-88D6-66FE924C5B5D}" srcOrd="3" destOrd="0" presId="urn:microsoft.com/office/officeart/2005/8/layout/hierarchy1"/>
    <dgm:cxn modelId="{F0074CA2-C0C1-413F-A7BB-4A76FCCF1F59}" type="presParOf" srcId="{3AF45F4A-B134-42E3-88D6-66FE924C5B5D}" destId="{1612D40A-F0D5-455F-B7BA-D49DF253E447}" srcOrd="0" destOrd="0" presId="urn:microsoft.com/office/officeart/2005/8/layout/hierarchy1"/>
    <dgm:cxn modelId="{D5777623-51CD-415D-BB8C-46D5BE76CC56}" type="presParOf" srcId="{1612D40A-F0D5-455F-B7BA-D49DF253E447}" destId="{86C08C8D-EC7F-4C2A-9920-78B750EF75F0}" srcOrd="0" destOrd="0" presId="urn:microsoft.com/office/officeart/2005/8/layout/hierarchy1"/>
    <dgm:cxn modelId="{CD4CA67D-8F7D-4DBD-B4AA-54325FEB5C95}" type="presParOf" srcId="{1612D40A-F0D5-455F-B7BA-D49DF253E447}" destId="{EA9B1780-0668-412E-AD67-238366C21981}" srcOrd="1" destOrd="0" presId="urn:microsoft.com/office/officeart/2005/8/layout/hierarchy1"/>
    <dgm:cxn modelId="{863A1FF9-D56E-4544-8E4D-F5036300D943}" type="presParOf" srcId="{3AF45F4A-B134-42E3-88D6-66FE924C5B5D}" destId="{830A559A-10D1-4DF4-96D6-8CDD35415CE6}" srcOrd="1" destOrd="0" presId="urn:microsoft.com/office/officeart/2005/8/layout/hierarchy1"/>
    <dgm:cxn modelId="{53BE0547-AE1F-4EB0-B0D0-02DED02CE15A}" type="presParOf" srcId="{C7B1430F-4A2D-47F6-9DCA-EB1926944B39}" destId="{2EF1D5BF-FE39-424C-BDFB-AF2BDBD96912}" srcOrd="4" destOrd="0" presId="urn:microsoft.com/office/officeart/2005/8/layout/hierarchy1"/>
    <dgm:cxn modelId="{D3395179-E60B-4F7A-A636-0BE656710BD8}" type="presParOf" srcId="{C7B1430F-4A2D-47F6-9DCA-EB1926944B39}" destId="{E015A62E-C7D2-4333-B34F-95EBF966733A}" srcOrd="5" destOrd="0" presId="urn:microsoft.com/office/officeart/2005/8/layout/hierarchy1"/>
    <dgm:cxn modelId="{441BFEE9-7B68-4BE6-825D-A6A634F8D513}" type="presParOf" srcId="{E015A62E-C7D2-4333-B34F-95EBF966733A}" destId="{35F30BA4-B47F-4686-92FA-E2BFD220AB10}" srcOrd="0" destOrd="0" presId="urn:microsoft.com/office/officeart/2005/8/layout/hierarchy1"/>
    <dgm:cxn modelId="{4EC4C1DE-5088-40EF-A7BA-100B6C69DAD6}" type="presParOf" srcId="{35F30BA4-B47F-4686-92FA-E2BFD220AB10}" destId="{EBA4A15E-6066-4EF6-9E5C-DB061DCC815F}" srcOrd="0" destOrd="0" presId="urn:microsoft.com/office/officeart/2005/8/layout/hierarchy1"/>
    <dgm:cxn modelId="{604FBACF-5F68-4241-AAA8-3FF74E492771}" type="presParOf" srcId="{35F30BA4-B47F-4686-92FA-E2BFD220AB10}" destId="{7F5BC6CC-8AFA-4740-B309-517D265391B9}" srcOrd="1" destOrd="0" presId="urn:microsoft.com/office/officeart/2005/8/layout/hierarchy1"/>
    <dgm:cxn modelId="{47373238-42C5-44CF-9680-C15584E0384D}" type="presParOf" srcId="{E015A62E-C7D2-4333-B34F-95EBF966733A}" destId="{AD44C51E-BA1D-4F71-923F-8E34EE1C1D9B}" srcOrd="1" destOrd="0" presId="urn:microsoft.com/office/officeart/2005/8/layout/hierarchy1"/>
    <dgm:cxn modelId="{C6656459-B2C3-4930-A31B-46CA4BA60BE5}" type="presParOf" srcId="{C7B1430F-4A2D-47F6-9DCA-EB1926944B39}" destId="{3EABFACC-1A74-4B53-B8E3-828F93BC7FB1}" srcOrd="6" destOrd="0" presId="urn:microsoft.com/office/officeart/2005/8/layout/hierarchy1"/>
    <dgm:cxn modelId="{4E54CB30-A0CD-4087-A37E-11CCE73AE01D}" type="presParOf" srcId="{C7B1430F-4A2D-47F6-9DCA-EB1926944B39}" destId="{784FE2A0-FEB8-48E3-ADC7-4B7C1D5E39BC}" srcOrd="7" destOrd="0" presId="urn:microsoft.com/office/officeart/2005/8/layout/hierarchy1"/>
    <dgm:cxn modelId="{354B5C20-0D87-47C3-BE75-572BC43FA8D5}" type="presParOf" srcId="{784FE2A0-FEB8-48E3-ADC7-4B7C1D5E39BC}" destId="{2D000A78-A140-4663-B2FF-65DAD67B9FA6}" srcOrd="0" destOrd="0" presId="urn:microsoft.com/office/officeart/2005/8/layout/hierarchy1"/>
    <dgm:cxn modelId="{55EE49F0-B302-4F0A-9571-71DA9282B058}" type="presParOf" srcId="{2D000A78-A140-4663-B2FF-65DAD67B9FA6}" destId="{DECDC0E4-0ECB-4429-BE65-8DF4AC2FC9B5}" srcOrd="0" destOrd="0" presId="urn:microsoft.com/office/officeart/2005/8/layout/hierarchy1"/>
    <dgm:cxn modelId="{898486F0-42C0-49B6-A966-CF342D2E25F4}" type="presParOf" srcId="{2D000A78-A140-4663-B2FF-65DAD67B9FA6}" destId="{A22D0D46-7DD6-4445-90D7-A82FE0AD5C32}" srcOrd="1" destOrd="0" presId="urn:microsoft.com/office/officeart/2005/8/layout/hierarchy1"/>
    <dgm:cxn modelId="{07694CDE-9235-499E-A0CA-31E64F9740B6}" type="presParOf" srcId="{784FE2A0-FEB8-48E3-ADC7-4B7C1D5E39BC}" destId="{DE5E9EAE-B6C6-493D-91AF-6F9B66475050}" srcOrd="1" destOrd="0" presId="urn:microsoft.com/office/officeart/2005/8/layout/hierarchy1"/>
    <dgm:cxn modelId="{2FCD8B52-9B5A-452A-9BD4-11B9DD2CE999}" type="presParOf" srcId="{97450017-8F65-4CD8-867D-E03AD740DE42}" destId="{F09075D4-2643-405E-BA12-289E12764621}" srcOrd="6" destOrd="0" presId="urn:microsoft.com/office/officeart/2005/8/layout/hierarchy1"/>
    <dgm:cxn modelId="{E8AB5398-6AFA-41DE-A2AA-2D9C86EBCEFC}" type="presParOf" srcId="{97450017-8F65-4CD8-867D-E03AD740DE42}" destId="{F4F4655C-B5B2-4B2F-B0F5-56D277EFE188}" srcOrd="7" destOrd="0" presId="urn:microsoft.com/office/officeart/2005/8/layout/hierarchy1"/>
    <dgm:cxn modelId="{22390EBB-F495-48CD-A493-0A344947370E}" type="presParOf" srcId="{F4F4655C-B5B2-4B2F-B0F5-56D277EFE188}" destId="{DBB97C32-9F8B-4769-AD27-362AE19FCA69}" srcOrd="0" destOrd="0" presId="urn:microsoft.com/office/officeart/2005/8/layout/hierarchy1"/>
    <dgm:cxn modelId="{84F9E63E-B23D-4267-8E75-921B5789DF72}" type="presParOf" srcId="{DBB97C32-9F8B-4769-AD27-362AE19FCA69}" destId="{892BD783-0BAE-4662-9039-2F513F624820}" srcOrd="0" destOrd="0" presId="urn:microsoft.com/office/officeart/2005/8/layout/hierarchy1"/>
    <dgm:cxn modelId="{1E41999A-8C01-42FA-821F-C8369D78A80B}" type="presParOf" srcId="{DBB97C32-9F8B-4769-AD27-362AE19FCA69}" destId="{C6C52817-4B44-43FF-943A-0A59FE258801}" srcOrd="1" destOrd="0" presId="urn:microsoft.com/office/officeart/2005/8/layout/hierarchy1"/>
    <dgm:cxn modelId="{882C9837-047B-4B76-8030-EA7AF3E11702}" type="presParOf" srcId="{F4F4655C-B5B2-4B2F-B0F5-56D277EFE188}" destId="{8F5CFFBC-36A2-4434-806D-2420EC2F8252}" srcOrd="1" destOrd="0" presId="urn:microsoft.com/office/officeart/2005/8/layout/hierarchy1"/>
    <dgm:cxn modelId="{180CE2B5-FF03-440A-B5CE-CC98F1CB5674}" type="presParOf" srcId="{B11B536A-C4F5-4B7C-AA75-E66EC1D4443A}" destId="{DAC6D09B-9508-4E42-BB88-9F851BB61AB4}" srcOrd="2" destOrd="0" presId="urn:microsoft.com/office/officeart/2005/8/layout/hierarchy1"/>
    <dgm:cxn modelId="{BA3A5C2C-3FB9-4315-B781-DDF2510459C1}" type="presParOf" srcId="{B11B536A-C4F5-4B7C-AA75-E66EC1D4443A}" destId="{C885FDD5-459C-40A0-A39C-AB7DEB6E23FD}" srcOrd="3" destOrd="0" presId="urn:microsoft.com/office/officeart/2005/8/layout/hierarchy1"/>
    <dgm:cxn modelId="{FC2445BD-DCCD-4680-B720-51D25AC5A1E6}" type="presParOf" srcId="{C885FDD5-459C-40A0-A39C-AB7DEB6E23FD}" destId="{1649045C-8FCD-472F-B567-BB08B1B0C29F}" srcOrd="0" destOrd="0" presId="urn:microsoft.com/office/officeart/2005/8/layout/hierarchy1"/>
    <dgm:cxn modelId="{B18045B9-9E0D-48BD-ABE7-67EDBA893D8B}" type="presParOf" srcId="{1649045C-8FCD-472F-B567-BB08B1B0C29F}" destId="{44FA0A5B-7DE0-44CF-89BB-DF6CFDF3AAA9}" srcOrd="0" destOrd="0" presId="urn:microsoft.com/office/officeart/2005/8/layout/hierarchy1"/>
    <dgm:cxn modelId="{D3995435-098F-413F-A593-7B8384CCE5C5}" type="presParOf" srcId="{1649045C-8FCD-472F-B567-BB08B1B0C29F}" destId="{D2A13974-49C9-4C59-A663-2AFF1E04FF24}" srcOrd="1" destOrd="0" presId="urn:microsoft.com/office/officeart/2005/8/layout/hierarchy1"/>
    <dgm:cxn modelId="{B1502669-1804-4062-B64F-E50685AB2840}" type="presParOf" srcId="{C885FDD5-459C-40A0-A39C-AB7DEB6E23FD}" destId="{AA6A6B55-C79C-4823-8A77-FA2830FBB4F2}" srcOrd="1" destOrd="0" presId="urn:microsoft.com/office/officeart/2005/8/layout/hierarchy1"/>
    <dgm:cxn modelId="{445AB630-D851-4DC9-9900-F6FF2610A22C}" type="presParOf" srcId="{AA6A6B55-C79C-4823-8A77-FA2830FBB4F2}" destId="{5938FA1C-A9B8-4D32-8F9D-BB02D862FD3A}" srcOrd="0" destOrd="0" presId="urn:microsoft.com/office/officeart/2005/8/layout/hierarchy1"/>
    <dgm:cxn modelId="{3A3684D4-68CF-49EE-8854-3B665B549590}" type="presParOf" srcId="{AA6A6B55-C79C-4823-8A77-FA2830FBB4F2}" destId="{6D6E249C-9C43-4AD9-9F4E-3BD1E1357F41}" srcOrd="1" destOrd="0" presId="urn:microsoft.com/office/officeart/2005/8/layout/hierarchy1"/>
    <dgm:cxn modelId="{01454CD2-08EB-4D19-9377-C9CD368469F2}" type="presParOf" srcId="{6D6E249C-9C43-4AD9-9F4E-3BD1E1357F41}" destId="{EDD0BACE-E5ED-40E0-BA50-C37967D71A98}" srcOrd="0" destOrd="0" presId="urn:microsoft.com/office/officeart/2005/8/layout/hierarchy1"/>
    <dgm:cxn modelId="{6B8F0B81-6554-49EB-B1A7-EDE593016CCC}" type="presParOf" srcId="{EDD0BACE-E5ED-40E0-BA50-C37967D71A98}" destId="{81EE9F97-E301-4012-BCE3-704C27061FC3}" srcOrd="0" destOrd="0" presId="urn:microsoft.com/office/officeart/2005/8/layout/hierarchy1"/>
    <dgm:cxn modelId="{A7723853-F895-4A95-8986-7CEBBB7958F1}" type="presParOf" srcId="{EDD0BACE-E5ED-40E0-BA50-C37967D71A98}" destId="{E6E07130-4990-40B3-A896-194AE1DDE5F4}" srcOrd="1" destOrd="0" presId="urn:microsoft.com/office/officeart/2005/8/layout/hierarchy1"/>
    <dgm:cxn modelId="{995EEB8D-0068-4D20-85C4-D2233E707B3C}" type="presParOf" srcId="{6D6E249C-9C43-4AD9-9F4E-3BD1E1357F41}" destId="{06E9D7A3-9637-45A7-8D52-D76423A894F6}" srcOrd="1" destOrd="0" presId="urn:microsoft.com/office/officeart/2005/8/layout/hierarchy1"/>
    <dgm:cxn modelId="{3BFFD2B6-1E0C-491C-AB68-F22778348393}" type="presParOf" srcId="{06E9D7A3-9637-45A7-8D52-D76423A894F6}" destId="{B7525475-420F-4751-A25B-54021042255C}" srcOrd="0" destOrd="0" presId="urn:microsoft.com/office/officeart/2005/8/layout/hierarchy1"/>
    <dgm:cxn modelId="{38BDC9A6-854C-4F64-B741-05D7B11AA2C6}" type="presParOf" srcId="{06E9D7A3-9637-45A7-8D52-D76423A894F6}" destId="{B3C42CE5-730B-41A9-BCE3-072211C98282}" srcOrd="1" destOrd="0" presId="urn:microsoft.com/office/officeart/2005/8/layout/hierarchy1"/>
    <dgm:cxn modelId="{E0879762-4544-4703-A9A2-3AB9683525E3}" type="presParOf" srcId="{B3C42CE5-730B-41A9-BCE3-072211C98282}" destId="{6121E195-F188-4BF1-9CDF-E1642350FBAA}" srcOrd="0" destOrd="0" presId="urn:microsoft.com/office/officeart/2005/8/layout/hierarchy1"/>
    <dgm:cxn modelId="{35DC139B-149B-4BEA-AC2C-CE48AB37A839}" type="presParOf" srcId="{6121E195-F188-4BF1-9CDF-E1642350FBAA}" destId="{70D1A7E2-4050-49B8-831C-762E9CB45681}" srcOrd="0" destOrd="0" presId="urn:microsoft.com/office/officeart/2005/8/layout/hierarchy1"/>
    <dgm:cxn modelId="{24ED4DC8-C52D-4736-AD67-CC060BAF94AC}" type="presParOf" srcId="{6121E195-F188-4BF1-9CDF-E1642350FBAA}" destId="{A464CB9B-1248-4288-A610-626F4C80E329}" srcOrd="1" destOrd="0" presId="urn:microsoft.com/office/officeart/2005/8/layout/hierarchy1"/>
    <dgm:cxn modelId="{7DA65DCC-E8C6-44DE-AC77-A065186B6072}" type="presParOf" srcId="{B3C42CE5-730B-41A9-BCE3-072211C98282}" destId="{CF8898F6-C689-4EE5-81D3-884C232EDC6A}" srcOrd="1" destOrd="0" presId="urn:microsoft.com/office/officeart/2005/8/layout/hierarchy1"/>
    <dgm:cxn modelId="{3EE5841E-BE3A-4277-8FAE-1A3438030702}" type="presParOf" srcId="{CF8898F6-C689-4EE5-81D3-884C232EDC6A}" destId="{F4C87081-669C-407B-8D4D-795C79BBAD67}" srcOrd="0" destOrd="0" presId="urn:microsoft.com/office/officeart/2005/8/layout/hierarchy1"/>
    <dgm:cxn modelId="{EBE606D2-82ED-4715-85D6-207778EC6CD9}" type="presParOf" srcId="{CF8898F6-C689-4EE5-81D3-884C232EDC6A}" destId="{1F58373B-65A8-47BC-A84D-5904EEFB405D}" srcOrd="1" destOrd="0" presId="urn:microsoft.com/office/officeart/2005/8/layout/hierarchy1"/>
    <dgm:cxn modelId="{DF04E920-00AD-4051-A6CC-D373B5A10CA9}" type="presParOf" srcId="{1F58373B-65A8-47BC-A84D-5904EEFB405D}" destId="{C21E6C09-1677-4B34-8A75-6037587E7EDD}" srcOrd="0" destOrd="0" presId="urn:microsoft.com/office/officeart/2005/8/layout/hierarchy1"/>
    <dgm:cxn modelId="{8C1DD758-17CC-499A-8661-68484769A617}" type="presParOf" srcId="{C21E6C09-1677-4B34-8A75-6037587E7EDD}" destId="{85ECD1C6-E83E-4401-83F8-A06DA83E6E44}" srcOrd="0" destOrd="0" presId="urn:microsoft.com/office/officeart/2005/8/layout/hierarchy1"/>
    <dgm:cxn modelId="{E57F2DBF-F40C-4462-90F4-6E1A298E186C}" type="presParOf" srcId="{C21E6C09-1677-4B34-8A75-6037587E7EDD}" destId="{5A491BC5-C05B-423A-997F-C9E2EA36BF9A}" srcOrd="1" destOrd="0" presId="urn:microsoft.com/office/officeart/2005/8/layout/hierarchy1"/>
    <dgm:cxn modelId="{EEBA2DB0-E06C-4250-A1FB-678C63C0E6EA}" type="presParOf" srcId="{1F58373B-65A8-47BC-A84D-5904EEFB405D}" destId="{E0CA22CC-7AD6-466A-B940-DEAB674EB30A}" srcOrd="1" destOrd="0" presId="urn:microsoft.com/office/officeart/2005/8/layout/hierarchy1"/>
    <dgm:cxn modelId="{BF7F2DA8-A941-4A8B-9238-3C401045231F}" type="presParOf" srcId="{CF8898F6-C689-4EE5-81D3-884C232EDC6A}" destId="{5516B0FE-A866-4925-AD64-2E8CE1A3360C}" srcOrd="2" destOrd="0" presId="urn:microsoft.com/office/officeart/2005/8/layout/hierarchy1"/>
    <dgm:cxn modelId="{2DE909D5-EC4A-4418-AD66-69FBAC3D821D}" type="presParOf" srcId="{CF8898F6-C689-4EE5-81D3-884C232EDC6A}" destId="{ED9ADA0E-B79C-4EE4-8B54-2E5A1B73EE6C}" srcOrd="3" destOrd="0" presId="urn:microsoft.com/office/officeart/2005/8/layout/hierarchy1"/>
    <dgm:cxn modelId="{5CBC3733-C81B-41A5-BB14-3EF8B0221D33}" type="presParOf" srcId="{ED9ADA0E-B79C-4EE4-8B54-2E5A1B73EE6C}" destId="{FFE0AAE0-AA16-4718-B90E-7EDE9DA377E0}" srcOrd="0" destOrd="0" presId="urn:microsoft.com/office/officeart/2005/8/layout/hierarchy1"/>
    <dgm:cxn modelId="{7530A659-18A5-448E-AB7D-8360B68481C0}" type="presParOf" srcId="{FFE0AAE0-AA16-4718-B90E-7EDE9DA377E0}" destId="{54C352EF-DD37-4F6C-A4B4-A513BF784842}" srcOrd="0" destOrd="0" presId="urn:microsoft.com/office/officeart/2005/8/layout/hierarchy1"/>
    <dgm:cxn modelId="{BA7744EA-A12B-4001-9430-684E09FDF611}" type="presParOf" srcId="{FFE0AAE0-AA16-4718-B90E-7EDE9DA377E0}" destId="{BF2D3024-2B8A-476C-83E2-2A5F81F8E990}" srcOrd="1" destOrd="0" presId="urn:microsoft.com/office/officeart/2005/8/layout/hierarchy1"/>
    <dgm:cxn modelId="{FB0A2569-E00E-4848-B2B9-8C04AFAFEF0D}" type="presParOf" srcId="{ED9ADA0E-B79C-4EE4-8B54-2E5A1B73EE6C}" destId="{A982303D-13C9-405E-9883-BDFB171CFF4C}" srcOrd="1" destOrd="0" presId="urn:microsoft.com/office/officeart/2005/8/layout/hierarchy1"/>
    <dgm:cxn modelId="{C68E9487-EC87-40AB-92FE-8C047C0234F3}" type="presParOf" srcId="{A982303D-13C9-405E-9883-BDFB171CFF4C}" destId="{04C4EA6B-0387-4141-88F2-9DC71EEC2411}" srcOrd="0" destOrd="0" presId="urn:microsoft.com/office/officeart/2005/8/layout/hierarchy1"/>
    <dgm:cxn modelId="{E587FE47-5174-4945-9F10-489D297FA0AC}" type="presParOf" srcId="{A982303D-13C9-405E-9883-BDFB171CFF4C}" destId="{9F5D4672-56CE-4A18-8BCC-E00C0BC3EA25}" srcOrd="1" destOrd="0" presId="urn:microsoft.com/office/officeart/2005/8/layout/hierarchy1"/>
    <dgm:cxn modelId="{D09BB29D-92C7-4D9D-B354-9D98E8FE1EFA}" type="presParOf" srcId="{9F5D4672-56CE-4A18-8BCC-E00C0BC3EA25}" destId="{BEA97C26-23E5-4A68-8DD2-E4DB4F1CB6E4}" srcOrd="0" destOrd="0" presId="urn:microsoft.com/office/officeart/2005/8/layout/hierarchy1"/>
    <dgm:cxn modelId="{64568573-09ED-42E1-980C-5CE27195E2E2}" type="presParOf" srcId="{BEA97C26-23E5-4A68-8DD2-E4DB4F1CB6E4}" destId="{D2050270-B5D9-44C9-B1D9-D359BCD0C9B9}" srcOrd="0" destOrd="0" presId="urn:microsoft.com/office/officeart/2005/8/layout/hierarchy1"/>
    <dgm:cxn modelId="{260F0A19-6D84-4F40-BDE6-E6C4286D6E0C}" type="presParOf" srcId="{BEA97C26-23E5-4A68-8DD2-E4DB4F1CB6E4}" destId="{CC49F64B-5611-4F7A-8A29-33142B67A7C2}" srcOrd="1" destOrd="0" presId="urn:microsoft.com/office/officeart/2005/8/layout/hierarchy1"/>
    <dgm:cxn modelId="{07FB883C-AB9F-4DD0-98F0-59795B8C102A}" type="presParOf" srcId="{9F5D4672-56CE-4A18-8BCC-E00C0BC3EA25}" destId="{1F6243D8-BF58-4563-AB35-ABEAC8733CAD}" srcOrd="1" destOrd="0" presId="urn:microsoft.com/office/officeart/2005/8/layout/hierarchy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81.wmf"/><Relationship Id="rId1" Type="http://schemas.openxmlformats.org/officeDocument/2006/relationships/image" Target="../media/image8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805613" cy="496888"/>
          </a:xfrm>
          <a:prstGeom prst="rect">
            <a:avLst/>
          </a:prstGeom>
        </p:spPr>
        <p:txBody>
          <a:bodyPr vert="horz" lIns="34774" tIns="34774" rIns="243416" bIns="34774"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440863"/>
            <a:ext cx="2949575" cy="496887"/>
          </a:xfrm>
          <a:prstGeom prst="rect">
            <a:avLst/>
          </a:prstGeom>
        </p:spPr>
        <p:txBody>
          <a:bodyPr vert="horz" lIns="88325" tIns="44162" rIns="88325" bIns="44162" rtlCol="0" anchor="b"/>
          <a:lstStyle>
            <a:lvl1pPr algn="l" defTabSz="957756" fontAlgn="auto">
              <a:spcBef>
                <a:spcPts val="0"/>
              </a:spcBef>
              <a:spcAft>
                <a:spcPts val="0"/>
              </a:spcAft>
              <a:defRPr sz="80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88325" tIns="44162" rIns="88325" bIns="44162" rtlCol="0" anchor="b"/>
          <a:lstStyle>
            <a:lvl1pPr algn="r" defTabSz="957756" fontAlgn="auto">
              <a:spcBef>
                <a:spcPts val="0"/>
              </a:spcBef>
              <a:spcAft>
                <a:spcPts val="0"/>
              </a:spcAft>
              <a:defRPr sz="800"/>
            </a:lvl1pPr>
          </a:lstStyle>
          <a:p>
            <a:pPr>
              <a:defRPr/>
            </a:pPr>
            <a:fld id="{07AD9CD1-0749-41C7-AE8B-E3C313CC98D9}" type="slidenum">
              <a:rPr lang="de-DE"/>
              <a:pPr>
                <a:defRPr/>
              </a:pPr>
              <a:t>‹#›</a:t>
            </a:fld>
            <a:endParaRPr lang="de-DE" dirty="0"/>
          </a:p>
        </p:txBody>
      </p:sp>
    </p:spTree>
    <p:extLst>
      <p:ext uri="{BB962C8B-B14F-4D97-AF65-F5344CB8AC3E}">
        <p14:creationId xmlns:p14="http://schemas.microsoft.com/office/powerpoint/2010/main" val="107918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5674" tIns="47837" rIns="95674" bIns="47837"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54450" y="0"/>
            <a:ext cx="2949575" cy="496888"/>
          </a:xfrm>
          <a:prstGeom prst="rect">
            <a:avLst/>
          </a:prstGeom>
        </p:spPr>
        <p:txBody>
          <a:bodyPr vert="horz" lIns="95674" tIns="47837" rIns="95674" bIns="47837" rtlCol="0"/>
          <a:lstStyle>
            <a:lvl1pPr algn="r" defTabSz="957756" fontAlgn="auto">
              <a:spcBef>
                <a:spcPts val="0"/>
              </a:spcBef>
              <a:spcAft>
                <a:spcPts val="0"/>
              </a:spcAft>
              <a:defRPr sz="1300">
                <a:latin typeface="+mn-lt"/>
                <a:cs typeface="+mn-cs"/>
              </a:defRPr>
            </a:lvl1pPr>
          </a:lstStyle>
          <a:p>
            <a:pPr>
              <a:defRPr/>
            </a:pPr>
            <a:fld id="{8FDA9565-76AB-48F8-A76A-D3A4CA98A399}" type="datetimeFigureOut">
              <a:rPr lang="en-US"/>
              <a:pPr>
                <a:defRPr/>
              </a:pPr>
              <a:t>9/15/2016</a:t>
            </a:fld>
            <a:endParaRPr lang="en-US" dirty="0"/>
          </a:p>
        </p:txBody>
      </p:sp>
      <p:sp>
        <p:nvSpPr>
          <p:cNvPr id="4" name="Slide Image Placeholder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5674" tIns="47837" rIns="95674" bIns="47837" rtlCol="0" anchor="ctr"/>
          <a:lstStyle/>
          <a:p>
            <a:pPr lvl="0"/>
            <a:endParaRPr lang="de-DE" noProof="0"/>
          </a:p>
        </p:txBody>
      </p:sp>
      <p:sp>
        <p:nvSpPr>
          <p:cNvPr id="5" name="Notes Placeholder 4"/>
          <p:cNvSpPr>
            <a:spLocks noGrp="1"/>
          </p:cNvSpPr>
          <p:nvPr>
            <p:ph type="body" sz="quarter" idx="3"/>
          </p:nvPr>
        </p:nvSpPr>
        <p:spPr>
          <a:xfrm>
            <a:off x="681038" y="4721225"/>
            <a:ext cx="5443537" cy="4471988"/>
          </a:xfrm>
          <a:prstGeom prst="rect">
            <a:avLst/>
          </a:prstGeom>
        </p:spPr>
        <p:txBody>
          <a:bodyPr vert="horz" lIns="95674" tIns="47837" rIns="95674" bIns="47837"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40863"/>
            <a:ext cx="2949575" cy="496887"/>
          </a:xfrm>
          <a:prstGeom prst="rect">
            <a:avLst/>
          </a:prstGeom>
        </p:spPr>
        <p:txBody>
          <a:bodyPr vert="horz" lIns="95674" tIns="47837" rIns="95674" bIns="47837"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54450" y="9440863"/>
            <a:ext cx="2949575" cy="496887"/>
          </a:xfrm>
          <a:prstGeom prst="rect">
            <a:avLst/>
          </a:prstGeom>
        </p:spPr>
        <p:txBody>
          <a:bodyPr vert="horz" lIns="95674" tIns="47837" rIns="95674" bIns="47837" rtlCol="0" anchor="b"/>
          <a:lstStyle>
            <a:lvl1pPr algn="r" defTabSz="957756" fontAlgn="auto">
              <a:spcBef>
                <a:spcPts val="0"/>
              </a:spcBef>
              <a:spcAft>
                <a:spcPts val="0"/>
              </a:spcAft>
              <a:defRPr sz="1300">
                <a:latin typeface="+mn-lt"/>
                <a:cs typeface="+mn-cs"/>
              </a:defRPr>
            </a:lvl1pPr>
          </a:lstStyle>
          <a:p>
            <a:pPr>
              <a:defRPr/>
            </a:pPr>
            <a:fld id="{45094F7C-D1E3-429C-A442-3FAF2D4EBF51}" type="slidenum">
              <a:rPr lang="en-US"/>
              <a:pPr>
                <a:defRPr/>
              </a:pPr>
              <a:t>‹#›</a:t>
            </a:fld>
            <a:endParaRPr lang="en-US" dirty="0"/>
          </a:p>
        </p:txBody>
      </p:sp>
    </p:spTree>
    <p:extLst>
      <p:ext uri="{BB962C8B-B14F-4D97-AF65-F5344CB8AC3E}">
        <p14:creationId xmlns:p14="http://schemas.microsoft.com/office/powerpoint/2010/main" val="3001165508"/>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p:txBody>
          <a:bodyPr/>
          <a:lstStyle/>
          <a:p>
            <a:pPr>
              <a:defRPr/>
            </a:pPr>
            <a:fld id="{927EFBC2-0556-47AE-92A1-6381DE6197D5}" type="slidenum">
              <a:rPr lang="en-US" smtClean="0">
                <a:solidFill>
                  <a:prstClr val="black"/>
                </a:solidFill>
                <a:ea typeface="MS PGothic" pitchFamily="34" charset="-128"/>
              </a:rPr>
              <a:pPr>
                <a:defRPr/>
              </a:pPr>
              <a:t>1</a:t>
            </a:fld>
            <a:endParaRPr lang="en-US" dirty="0" smtClean="0">
              <a:solidFill>
                <a:prstClr val="black"/>
              </a:solidFill>
              <a:ea typeface="MS PGothic" pitchFamily="34" charset="-128"/>
            </a:endParaRPr>
          </a:p>
        </p:txBody>
      </p:sp>
      <p:sp>
        <p:nvSpPr>
          <p:cNvPr id="65539" name="Rectangle 2"/>
          <p:cNvSpPr>
            <a:spLocks noGrp="1" noRot="1" noChangeAspect="1" noChangeArrowheads="1" noTextEdit="1"/>
          </p:cNvSpPr>
          <p:nvPr>
            <p:ph type="sldImg"/>
          </p:nvPr>
        </p:nvSpPr>
        <p:spPr>
          <a:xfrm>
            <a:off x="711200" y="746125"/>
            <a:ext cx="5383213" cy="3727450"/>
          </a:xfrm>
          <a:ln/>
        </p:spPr>
      </p:sp>
      <p:sp>
        <p:nvSpPr>
          <p:cNvPr id="65540" name="Rectangle 3"/>
          <p:cNvSpPr>
            <a:spLocks noGrp="1" noChangeArrowheads="1"/>
          </p:cNvSpPr>
          <p:nvPr>
            <p:ph type="body" idx="1"/>
          </p:nvPr>
        </p:nvSpPr>
        <p:spPr>
          <a:noFill/>
          <a:ln/>
        </p:spPr>
        <p:txBody>
          <a:bodyPr/>
          <a:lstStyle/>
          <a:p>
            <a:pPr eaLnBrk="1" hangingPunct="1"/>
            <a:endParaRPr lang="en-GB" dirty="0"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r>
              <a:rPr lang="en-US" baseline="0" dirty="0" smtClean="0"/>
              <a:t> Consider Alex’s Smartphone scenario to provide the example to the terminologie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00" kern="1200" dirty="0" smtClean="0">
                <a:solidFill>
                  <a:schemeClr val="tx1"/>
                </a:solidFill>
                <a:latin typeface="+mn-lt"/>
                <a:ea typeface="+mn-ea"/>
                <a:cs typeface="+mn-cs"/>
              </a:rPr>
              <a:t>The entire training revolves around the term Quality. So what does Quality mean?</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Different people have different views of quality, resulting in various definitions of the term Quality.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To understand these different views of Quality, let us see a simple scenario.</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A varied range of Mobile phones are available in the market today. The producers view of Quality is all about having some basic features inbuilt in the product before they start selling in the market. The quality check involves checking basic characteristics of</a:t>
            </a:r>
            <a:r>
              <a:rPr lang="en-US" sz="1000" kern="1200" baseline="0" dirty="0" smtClean="0">
                <a:solidFill>
                  <a:schemeClr val="tx1"/>
                </a:solidFill>
                <a:latin typeface="+mn-lt"/>
                <a:ea typeface="+mn-ea"/>
                <a:cs typeface="+mn-cs"/>
              </a:rPr>
              <a:t> the product</a:t>
            </a:r>
            <a:r>
              <a:rPr lang="en-US" sz="1000" kern="1200" dirty="0" smtClean="0">
                <a:solidFill>
                  <a:schemeClr val="tx1"/>
                </a:solidFill>
                <a:latin typeface="+mn-lt"/>
                <a:ea typeface="+mn-ea"/>
                <a:cs typeface="+mn-cs"/>
              </a:rPr>
              <a:t> like Performance, Reliability, Scalability, Security, Usability, Capability, Install-ability and Maintainability.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Coming to the customers view of quality, consider a scenario</a:t>
            </a:r>
            <a:r>
              <a:rPr lang="en-US" sz="1000" kern="1200" baseline="0" dirty="0" smtClean="0">
                <a:solidFill>
                  <a:schemeClr val="tx1"/>
                </a:solidFill>
                <a:latin typeface="+mn-lt"/>
                <a:ea typeface="+mn-ea"/>
                <a:cs typeface="+mn-cs"/>
              </a:rPr>
              <a:t> wherein </a:t>
            </a:r>
            <a:r>
              <a:rPr lang="en-US" sz="1000" kern="1200" dirty="0" smtClean="0">
                <a:solidFill>
                  <a:schemeClr val="tx1"/>
                </a:solidFill>
                <a:latin typeface="+mn-lt"/>
                <a:ea typeface="+mn-ea"/>
                <a:cs typeface="+mn-cs"/>
              </a:rPr>
              <a:t>you go to buy a mobile phone.</a:t>
            </a:r>
            <a:r>
              <a:rPr lang="en-US" sz="1000" kern="1200" baseline="0" dirty="0" smtClean="0">
                <a:solidFill>
                  <a:schemeClr val="tx1"/>
                </a:solidFill>
                <a:latin typeface="+mn-lt"/>
                <a:ea typeface="+mn-ea"/>
                <a:cs typeface="+mn-cs"/>
              </a:rPr>
              <a:t> T</a:t>
            </a:r>
            <a:r>
              <a:rPr lang="en-US" sz="1000" kern="1200" dirty="0" smtClean="0">
                <a:solidFill>
                  <a:schemeClr val="tx1"/>
                </a:solidFill>
                <a:latin typeface="+mn-lt"/>
                <a:ea typeface="+mn-ea"/>
                <a:cs typeface="+mn-cs"/>
              </a:rPr>
              <a:t>he salesman shows you a branded mobile phone with many features, 5Mbps camera and low price. Someone standing next to you might immediately buy this mobile phone as he wanted a branded mobile phone with basic features and low price. You are still not satisfied with the device as your requirement is</a:t>
            </a:r>
            <a:r>
              <a:rPr lang="en-US" sz="1000" kern="1200" baseline="0" dirty="0" smtClean="0">
                <a:solidFill>
                  <a:schemeClr val="tx1"/>
                </a:solidFill>
                <a:latin typeface="+mn-lt"/>
                <a:ea typeface="+mn-ea"/>
                <a:cs typeface="+mn-cs"/>
              </a:rPr>
              <a:t> to buy</a:t>
            </a:r>
            <a:r>
              <a:rPr lang="en-US" sz="1000" kern="1200" dirty="0" smtClean="0">
                <a:solidFill>
                  <a:schemeClr val="tx1"/>
                </a:solidFill>
                <a:latin typeface="+mn-lt"/>
                <a:ea typeface="+mn-ea"/>
                <a:cs typeface="+mn-cs"/>
              </a:rPr>
              <a:t> a mobile with a high end camera. Hence Customer’s view</a:t>
            </a:r>
            <a:r>
              <a:rPr lang="en-US" sz="1000" kern="1200" baseline="0" dirty="0" smtClean="0">
                <a:solidFill>
                  <a:schemeClr val="tx1"/>
                </a:solidFill>
                <a:latin typeface="+mn-lt"/>
                <a:ea typeface="+mn-ea"/>
                <a:cs typeface="+mn-cs"/>
              </a:rPr>
              <a:t> of quality comes into picture here which talks about </a:t>
            </a:r>
            <a:r>
              <a:rPr lang="en-US" sz="1000" kern="1200" dirty="0" smtClean="0">
                <a:solidFill>
                  <a:schemeClr val="tx1"/>
                </a:solidFill>
                <a:latin typeface="+mn-lt"/>
                <a:ea typeface="+mn-ea"/>
                <a:cs typeface="+mn-cs"/>
              </a:rPr>
              <a:t>making the product ‘fit for use’ as per the customers requirements.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There</a:t>
            </a:r>
            <a:r>
              <a:rPr lang="en-US" sz="1000" kern="1200" baseline="0" dirty="0" smtClean="0">
                <a:solidFill>
                  <a:schemeClr val="tx1"/>
                </a:solidFill>
                <a:latin typeface="+mn-lt"/>
                <a:ea typeface="+mn-ea"/>
                <a:cs typeface="+mn-cs"/>
              </a:rPr>
              <a:t> are various definitions of the term Quality, but to summarize we can say that: Quality is the degree </a:t>
            </a:r>
            <a:r>
              <a:rPr lang="en-US" sz="1000" kern="1200" dirty="0" smtClean="0">
                <a:solidFill>
                  <a:schemeClr val="tx1"/>
                </a:solidFill>
                <a:latin typeface="+mn-lt"/>
                <a:ea typeface="+mn-ea"/>
                <a:cs typeface="+mn-cs"/>
              </a:rPr>
              <a:t>to which any product or service possesses a desired combination of attributes, </a:t>
            </a:r>
            <a:r>
              <a:rPr lang="en-US" sz="1000" kern="1200" baseline="0" dirty="0" smtClean="0">
                <a:solidFill>
                  <a:schemeClr val="tx1"/>
                </a:solidFill>
                <a:latin typeface="+mn-lt"/>
                <a:ea typeface="+mn-ea"/>
                <a:cs typeface="+mn-cs"/>
              </a:rPr>
              <a:t>to satisfy the stated and implied needs.</a:t>
            </a:r>
          </a:p>
          <a:p>
            <a:endParaRPr lang="en-US" sz="1000" kern="1200" baseline="0" dirty="0" smtClean="0">
              <a:solidFill>
                <a:schemeClr val="tx1"/>
              </a:solidFill>
              <a:latin typeface="+mn-lt"/>
              <a:ea typeface="+mn-ea"/>
              <a:cs typeface="+mn-cs"/>
            </a:endParaRPr>
          </a:p>
          <a:p>
            <a:r>
              <a:rPr lang="en-US" sz="1000" kern="1200" baseline="0" dirty="0" smtClean="0">
                <a:solidFill>
                  <a:schemeClr val="tx1"/>
                </a:solidFill>
                <a:latin typeface="+mn-lt"/>
                <a:ea typeface="+mn-ea"/>
                <a:cs typeface="+mn-cs"/>
              </a:rPr>
              <a:t>===============Quality Attributes==============</a:t>
            </a:r>
          </a:p>
          <a:p>
            <a:r>
              <a:rPr lang="en-US" sz="1000" b="1" kern="1200" dirty="0" smtClean="0">
                <a:solidFill>
                  <a:schemeClr val="tx1"/>
                </a:solidFill>
                <a:latin typeface="+mn-lt"/>
                <a:ea typeface="+mn-ea"/>
                <a:cs typeface="+mn-cs"/>
              </a:rPr>
              <a:t>Capability</a:t>
            </a:r>
            <a:r>
              <a:rPr lang="en-US" sz="1000" kern="1200" dirty="0" smtClean="0">
                <a:solidFill>
                  <a:schemeClr val="tx1"/>
                </a:solidFill>
                <a:latin typeface="+mn-lt"/>
                <a:ea typeface="+mn-ea"/>
                <a:cs typeface="+mn-cs"/>
              </a:rPr>
              <a:t> is something which will indicate what is your business and what you are capable of doing to the client. </a:t>
            </a:r>
            <a:r>
              <a:rPr lang="en-US" sz="1000" b="1" kern="1200" dirty="0" smtClean="0">
                <a:solidFill>
                  <a:schemeClr val="tx1"/>
                </a:solidFill>
                <a:latin typeface="+mn-lt"/>
                <a:ea typeface="+mn-ea"/>
                <a:cs typeface="+mn-cs"/>
              </a:rPr>
              <a:t>Example: </a:t>
            </a:r>
            <a:r>
              <a:rPr lang="en-US" sz="1000" kern="1200" dirty="0" smtClean="0">
                <a:solidFill>
                  <a:schemeClr val="tx1"/>
                </a:solidFill>
                <a:latin typeface="+mn-lt"/>
                <a:ea typeface="+mn-ea"/>
                <a:cs typeface="+mn-cs"/>
              </a:rPr>
              <a:t>Development of Mobile Software App.</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Maintainability </a:t>
            </a:r>
            <a:r>
              <a:rPr lang="en-US" sz="1000" kern="1200" dirty="0" smtClean="0">
                <a:solidFill>
                  <a:schemeClr val="tx1"/>
                </a:solidFill>
                <a:latin typeface="+mn-lt"/>
                <a:ea typeface="+mn-ea"/>
                <a:cs typeface="+mn-cs"/>
              </a:rPr>
              <a:t>is the ability of the system to undergo changes with a degree of ease. </a:t>
            </a:r>
            <a:r>
              <a:rPr lang="en-US" sz="1000" b="1" kern="1200" dirty="0" smtClean="0">
                <a:solidFill>
                  <a:schemeClr val="tx1"/>
                </a:solidFill>
                <a:latin typeface="+mn-lt"/>
                <a:ea typeface="+mn-ea"/>
                <a:cs typeface="+mn-cs"/>
              </a:rPr>
              <a:t>Example:</a:t>
            </a:r>
            <a:r>
              <a:rPr lang="en-US" sz="1000" kern="1200" dirty="0" smtClean="0">
                <a:solidFill>
                  <a:schemeClr val="tx1"/>
                </a:solidFill>
                <a:latin typeface="+mn-lt"/>
                <a:ea typeface="+mn-ea"/>
                <a:cs typeface="+mn-cs"/>
              </a:rPr>
              <a:t> Mobile Software App can be enhanced easily to include a new function.</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Usability </a:t>
            </a:r>
            <a:r>
              <a:rPr lang="en-US" sz="1000" kern="1200" dirty="0" smtClean="0">
                <a:solidFill>
                  <a:schemeClr val="tx1"/>
                </a:solidFill>
                <a:latin typeface="+mn-lt"/>
                <a:ea typeface="+mn-ea"/>
                <a:cs typeface="+mn-cs"/>
              </a:rPr>
              <a:t>defines how well the application meets the requirements of the user and consumer. </a:t>
            </a:r>
            <a:r>
              <a:rPr lang="en-US" sz="1000" b="1" kern="1200" dirty="0" smtClean="0">
                <a:solidFill>
                  <a:schemeClr val="tx1"/>
                </a:solidFill>
                <a:latin typeface="+mn-lt"/>
                <a:ea typeface="+mn-ea"/>
                <a:cs typeface="+mn-cs"/>
              </a:rPr>
              <a:t>Example: </a:t>
            </a:r>
            <a:r>
              <a:rPr lang="en-US" sz="1000" kern="1200" dirty="0" smtClean="0">
                <a:solidFill>
                  <a:schemeClr val="tx1"/>
                </a:solidFill>
                <a:latin typeface="+mn-lt"/>
                <a:ea typeface="+mn-ea"/>
                <a:cs typeface="+mn-cs"/>
              </a:rPr>
              <a:t>User needs a </a:t>
            </a:r>
            <a:r>
              <a:rPr lang="en-US" sz="1000" kern="1200" dirty="0" err="1" smtClean="0">
                <a:solidFill>
                  <a:schemeClr val="tx1"/>
                </a:solidFill>
                <a:latin typeface="+mn-lt"/>
                <a:ea typeface="+mn-ea"/>
                <a:cs typeface="+mn-cs"/>
              </a:rPr>
              <a:t>calender</a:t>
            </a:r>
            <a:r>
              <a:rPr lang="en-US" sz="1000" kern="1200" dirty="0" smtClean="0">
                <a:solidFill>
                  <a:schemeClr val="tx1"/>
                </a:solidFill>
                <a:latin typeface="+mn-lt"/>
                <a:ea typeface="+mn-ea"/>
                <a:cs typeface="+mn-cs"/>
              </a:rPr>
              <a:t> function in his phone &amp; The mobile app or mobile has the </a:t>
            </a:r>
            <a:r>
              <a:rPr lang="en-US" sz="1000" kern="1200" dirty="0" err="1" smtClean="0">
                <a:solidFill>
                  <a:schemeClr val="tx1"/>
                </a:solidFill>
                <a:latin typeface="+mn-lt"/>
                <a:ea typeface="+mn-ea"/>
                <a:cs typeface="+mn-cs"/>
              </a:rPr>
              <a:t>calender</a:t>
            </a:r>
            <a:r>
              <a:rPr lang="en-US" sz="1000" kern="1200" dirty="0" smtClean="0">
                <a:solidFill>
                  <a:schemeClr val="tx1"/>
                </a:solidFill>
                <a:latin typeface="+mn-lt"/>
                <a:ea typeface="+mn-ea"/>
                <a:cs typeface="+mn-cs"/>
              </a:rPr>
              <a:t> inbuilt.</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Performance</a:t>
            </a:r>
            <a:r>
              <a:rPr lang="en-US" sz="1000" kern="1200" dirty="0" smtClean="0">
                <a:solidFill>
                  <a:schemeClr val="tx1"/>
                </a:solidFill>
                <a:latin typeface="+mn-lt"/>
                <a:ea typeface="+mn-ea"/>
                <a:cs typeface="+mn-cs"/>
              </a:rPr>
              <a:t> is an indication of the responsiveness of a system to execute any action within a given time interval. </a:t>
            </a:r>
            <a:r>
              <a:rPr lang="en-US" sz="1000" b="1" kern="1200" dirty="0" smtClean="0">
                <a:solidFill>
                  <a:schemeClr val="tx1"/>
                </a:solidFill>
                <a:latin typeface="+mn-lt"/>
                <a:ea typeface="+mn-ea"/>
                <a:cs typeface="+mn-cs"/>
              </a:rPr>
              <a:t>Example:</a:t>
            </a:r>
            <a:r>
              <a:rPr lang="en-US" sz="1000" kern="1200" dirty="0" smtClean="0">
                <a:solidFill>
                  <a:schemeClr val="tx1"/>
                </a:solidFill>
                <a:latin typeface="+mn-lt"/>
                <a:ea typeface="+mn-ea"/>
                <a:cs typeface="+mn-cs"/>
              </a:rPr>
              <a:t> Phone Battery performance, Internet speed etc..</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Scalability </a:t>
            </a:r>
            <a:r>
              <a:rPr lang="en-US" sz="1000" kern="1200" dirty="0" smtClean="0">
                <a:solidFill>
                  <a:schemeClr val="tx1"/>
                </a:solidFill>
                <a:latin typeface="+mn-lt"/>
                <a:ea typeface="+mn-ea"/>
                <a:cs typeface="+mn-cs"/>
              </a:rPr>
              <a:t>is ability of a system to either handle increases in load without impact on the performance of the system, or the ability to be readily enlarged.</a:t>
            </a:r>
          </a:p>
          <a:p>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Security</a:t>
            </a:r>
            <a:r>
              <a:rPr lang="en-US" sz="1000" kern="1200" dirty="0" smtClean="0">
                <a:solidFill>
                  <a:schemeClr val="tx1"/>
                </a:solidFill>
                <a:latin typeface="+mn-lt"/>
                <a:ea typeface="+mn-ea"/>
                <a:cs typeface="+mn-cs"/>
              </a:rPr>
              <a:t> is the capability of a system to prevent malicious or accidental actions outside of the designed usage, and to prevent disclosure or loss of information.</a:t>
            </a:r>
          </a:p>
          <a:p>
            <a:r>
              <a:rPr lang="en-US" sz="1000" b="1" kern="1200" dirty="0" smtClean="0">
                <a:solidFill>
                  <a:schemeClr val="tx1"/>
                </a:solidFill>
                <a:latin typeface="+mn-lt"/>
                <a:ea typeface="+mn-ea"/>
                <a:cs typeface="+mn-cs"/>
              </a:rPr>
              <a:t>Example: </a:t>
            </a:r>
            <a:r>
              <a:rPr lang="en-US" sz="1000" kern="1200" dirty="0" smtClean="0">
                <a:solidFill>
                  <a:schemeClr val="tx1"/>
                </a:solidFill>
                <a:latin typeface="+mn-lt"/>
                <a:ea typeface="+mn-ea"/>
                <a:cs typeface="+mn-cs"/>
              </a:rPr>
              <a:t>Mobile virus prevention </a:t>
            </a:r>
            <a:r>
              <a:rPr lang="en-US" sz="1000" kern="1200" dirty="0" err="1" smtClean="0">
                <a:solidFill>
                  <a:schemeClr val="tx1"/>
                </a:solidFill>
                <a:latin typeface="+mn-lt"/>
                <a:ea typeface="+mn-ea"/>
                <a:cs typeface="+mn-cs"/>
              </a:rPr>
              <a:t>softwares</a:t>
            </a:r>
            <a:r>
              <a:rPr lang="en-US" sz="1000" kern="1200" dirty="0" smtClean="0">
                <a:solidFill>
                  <a:schemeClr val="tx1"/>
                </a:solidFill>
                <a:latin typeface="+mn-lt"/>
                <a:ea typeface="+mn-ea"/>
                <a:cs typeface="+mn-cs"/>
              </a:rPr>
              <a:t>. Damage protection glas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7</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8</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Note: Let us see what is configuration management and the purpose of it.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e purpose of CM is to </a:t>
            </a:r>
            <a:r>
              <a:rPr lang="en-US" sz="1000" dirty="0" smtClean="0">
                <a:latin typeface="Calibri" pitchFamily="34" charset="0"/>
              </a:rPr>
              <a:t>establish and maintain the integrity of work products using configuration identification, configuration control, configuration status accounting, and configuration audits.</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CM manages the components of a software project along with its versions control, releases etc…</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9</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0</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1</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2</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defRPr/>
            </a:pPr>
            <a:r>
              <a:rPr lang="en-IN" altLang="en-US" sz="1000" dirty="0" err="1" smtClean="0"/>
              <a:t>Capgemini’s</a:t>
            </a:r>
            <a:r>
              <a:rPr lang="en-IN" altLang="en-US" sz="1000" dirty="0" smtClean="0"/>
              <a:t> Quality and Service Management Policy is ‘to always meet or exceed Client Expectations.’ </a:t>
            </a:r>
          </a:p>
          <a:p>
            <a:pPr eaLnBrk="1" hangingPunct="1">
              <a:spcBef>
                <a:spcPct val="0"/>
              </a:spcBef>
              <a:defRPr/>
            </a:pPr>
            <a:endParaRPr lang="en-IN" altLang="en-US" sz="1000" dirty="0" smtClean="0"/>
          </a:p>
          <a:p>
            <a:pPr eaLnBrk="1" hangingPunct="1">
              <a:spcBef>
                <a:spcPct val="0"/>
              </a:spcBef>
              <a:defRPr/>
            </a:pPr>
            <a:r>
              <a:rPr lang="en-IN" altLang="en-US" sz="1000" dirty="0" smtClean="0"/>
              <a:t>To be in line with the policy, measuring Customer Satisfaction is a key. </a:t>
            </a:r>
            <a:r>
              <a:rPr lang="en-US" altLang="en-US" sz="1000" dirty="0" smtClean="0"/>
              <a:t>At Capgemini we measure Customer’s Satisfaction in the form of OTACE which stands for “On Time &amp; At/ Above Client’s Expectation”. Client  is responsible for providing this rating on a scale of 1 to 5, 1 being the lowest rating. </a:t>
            </a:r>
          </a:p>
          <a:p>
            <a:pPr eaLnBrk="1" hangingPunct="1">
              <a:spcBef>
                <a:spcPct val="0"/>
              </a:spcBef>
              <a:defRPr/>
            </a:pPr>
            <a:endParaRPr lang="en-US" altLang="en-US" sz="100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en-US" sz="1200" u="none" kern="1200" dirty="0" smtClean="0">
                <a:solidFill>
                  <a:schemeClr val="tx1"/>
                </a:solidFill>
                <a:latin typeface="+mn-lt"/>
                <a:ea typeface="+mn-ea"/>
                <a:cs typeface="+mn-cs"/>
              </a:rPr>
              <a:t>OTACE rating has to be published based on the agreed criteria with the Customer.</a:t>
            </a:r>
            <a:endParaRPr lang="en-US" altLang="en-US" sz="1000" dirty="0" smtClean="0"/>
          </a:p>
          <a:p>
            <a:pPr eaLnBrk="1" hangingPunct="1">
              <a:spcBef>
                <a:spcPct val="0"/>
              </a:spcBef>
              <a:defRPr/>
            </a:pPr>
            <a:endParaRPr lang="en-US" altLang="en-US" sz="1000" dirty="0" smtClean="0"/>
          </a:p>
          <a:p>
            <a:pPr eaLnBrk="1" hangingPunct="1">
              <a:spcBef>
                <a:spcPct val="0"/>
              </a:spcBef>
              <a:defRPr/>
            </a:pPr>
            <a:r>
              <a:rPr lang="en-US" altLang="en-US" sz="1000" dirty="0" smtClean="0"/>
              <a:t>Organizational Baseline for OTACE is 3.5 and projects are expected to get a rating of 3.5 or above. OTACE Action Plan is to be prepared in case there are any improvement suggestions from customer for any of</a:t>
            </a:r>
            <a:r>
              <a:rPr lang="en-US" altLang="en-US" sz="1000" baseline="0" dirty="0" smtClean="0"/>
              <a:t> the agreed criteria, </a:t>
            </a:r>
            <a:r>
              <a:rPr lang="en-US" altLang="en-US" sz="1000" dirty="0" smtClean="0"/>
              <a:t>or in case of lower rating.</a:t>
            </a:r>
          </a:p>
          <a:p>
            <a:pPr eaLnBrk="1" hangingPunct="1">
              <a:spcBef>
                <a:spcPct val="0"/>
              </a:spcBef>
              <a:defRPr/>
            </a:pPr>
            <a:endParaRPr lang="en-US" altLang="en-US" sz="1000" dirty="0" smtClean="0"/>
          </a:p>
          <a:p>
            <a:pPr>
              <a:defRPr/>
            </a:pPr>
            <a:r>
              <a:rPr lang="en-US" sz="1000" dirty="0" smtClean="0"/>
              <a:t>E -Val is a Web based tool used to record and report OTACE information across Capgemini India.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3</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Note: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alk about what is quality manual, what it contains and where do we find the </a:t>
            </a:r>
            <a:r>
              <a:rPr lang="en-US" sz="1000" kern="1200" baseline="0" dirty="0" err="1" smtClean="0">
                <a:solidFill>
                  <a:schemeClr val="tx1"/>
                </a:solidFill>
                <a:latin typeface="Calibri" pitchFamily="34" charset="0"/>
                <a:ea typeface="+mn-ea"/>
                <a:cs typeface="+mn-cs"/>
              </a:rPr>
              <a:t>Capgemini</a:t>
            </a:r>
            <a:r>
              <a:rPr lang="en-US" sz="1000" kern="1200" baseline="0" dirty="0" smtClean="0">
                <a:solidFill>
                  <a:schemeClr val="tx1"/>
                </a:solidFill>
                <a:latin typeface="Calibri" pitchFamily="34" charset="0"/>
                <a:ea typeface="+mn-ea"/>
                <a:cs typeface="+mn-cs"/>
              </a:rPr>
              <a:t> quality manual.</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alk about what is a process using the diagram. Process is a set of interrelated activities happing with certain inputs to it to get a desirable output. Output may be for the internal customer or external customer or any other interested part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4</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5</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6</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7</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8</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29</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smtClean="0"/>
              <a:t>Now we will come back to the navigation of each process </a:t>
            </a:r>
            <a:r>
              <a:rPr lang="en-US" sz="1000" baseline="0" dirty="0" smtClean="0"/>
              <a:t>Library</a:t>
            </a:r>
            <a:r>
              <a:rPr lang="en-US" sz="1000" dirty="0" smtClean="0"/>
              <a:t>.</a:t>
            </a:r>
          </a:p>
          <a:p>
            <a:pPr>
              <a:defRPr/>
            </a:pPr>
            <a:endParaRPr lang="en-US" sz="1000" dirty="0" smtClean="0"/>
          </a:p>
          <a:p>
            <a:r>
              <a:rPr lang="en-US" sz="1000" dirty="0" smtClean="0"/>
              <a:t>The process Library is a comprehensive documents repository consisting of work flow built processes, roles, templates, etc. The following are various components in each of the process libraries.</a:t>
            </a:r>
          </a:p>
          <a:p>
            <a:pPr lvl="0"/>
            <a:endParaRPr lang="en-US" sz="1000" dirty="0" smtClean="0"/>
          </a:p>
          <a:p>
            <a:pPr lvl="0"/>
            <a:r>
              <a:rPr lang="en-US" sz="1000" dirty="0" smtClean="0"/>
              <a:t>All process libraries have Method overview section which gives a high level overview of the entire process. </a:t>
            </a:r>
          </a:p>
          <a:p>
            <a:pPr lvl="0"/>
            <a:r>
              <a:rPr lang="en-US" sz="1000" dirty="0" smtClean="0"/>
              <a:t>All processes are listed under streams, which are in turn mapped to different activities. Activities are then split into tasks, wherein each task consists of:</a:t>
            </a:r>
          </a:p>
          <a:p>
            <a:pPr lvl="0"/>
            <a:r>
              <a:rPr lang="en-US" sz="1000" dirty="0" smtClean="0"/>
              <a:t>- Detailed work instructions</a:t>
            </a:r>
          </a:p>
          <a:p>
            <a:pPr lvl="0"/>
            <a:r>
              <a:rPr lang="en-US" sz="1000" dirty="0" smtClean="0"/>
              <a:t>- Primary and Secondary Roles</a:t>
            </a:r>
          </a:p>
          <a:p>
            <a:pPr lvl="0"/>
            <a:r>
              <a:rPr lang="en-US" sz="1000" dirty="0" smtClean="0"/>
              <a:t>- Inputs and outputs</a:t>
            </a:r>
          </a:p>
          <a:p>
            <a:pPr lvl="0">
              <a:buFontTx/>
              <a:buChar char="-"/>
            </a:pPr>
            <a:r>
              <a:rPr lang="en-US" sz="1000" dirty="0" smtClean="0"/>
              <a:t>Templates and guidelines</a:t>
            </a:r>
          </a:p>
          <a:p>
            <a:pPr lvl="0">
              <a:buFontTx/>
              <a:buChar char="-"/>
            </a:pPr>
            <a:r>
              <a:rPr lang="en-US" sz="1000" dirty="0" smtClean="0"/>
              <a:t>Tool Mentors</a:t>
            </a:r>
          </a:p>
          <a:p>
            <a:pPr lvl="0"/>
            <a:endParaRPr lang="en-US" sz="1000" dirty="0" smtClean="0"/>
          </a:p>
          <a:p>
            <a:pPr lvl="0"/>
            <a:r>
              <a:rPr lang="en-US" sz="1000" dirty="0" smtClean="0"/>
              <a:t>Different views are provided and templates/ guidelines can be directly downloaded from template view. </a:t>
            </a:r>
          </a:p>
          <a:p>
            <a:pPr lvl="0"/>
            <a:r>
              <a:rPr lang="en-US" sz="1000" b="1" dirty="0" smtClean="0"/>
              <a:t>Key sections</a:t>
            </a:r>
            <a:r>
              <a:rPr lang="en-US" sz="1000" dirty="0" smtClean="0"/>
              <a:t> are covered in the end for capturing process wise metrics and links to best practices from KM portal. </a:t>
            </a:r>
          </a:p>
          <a:p>
            <a:pPr lvl="0"/>
            <a:r>
              <a:rPr lang="en-US" sz="1000" b="1" dirty="0" smtClean="0"/>
              <a:t>Downloads section </a:t>
            </a:r>
            <a:r>
              <a:rPr lang="en-US" sz="1000" dirty="0" smtClean="0"/>
              <a:t>consists of</a:t>
            </a:r>
            <a:r>
              <a:rPr lang="en-US" sz="1000" b="1" dirty="0" smtClean="0"/>
              <a:t> </a:t>
            </a:r>
            <a:r>
              <a:rPr lang="en-US" sz="1000" dirty="0" smtClean="0"/>
              <a:t>Mandatory artifacts, Task Level RACI, Sample Folder Structures for projects and Portal HTML method to download the library.</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0</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1</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2</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3</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A Best Practice is a technique or methodology which is a take away from a project during its execution. A Best Practice can be reused by other projects to achieve similar benefits.</a:t>
            </a:r>
          </a:p>
          <a:p>
            <a:r>
              <a:rPr lang="en-US" sz="1000" dirty="0" smtClean="0"/>
              <a:t> </a:t>
            </a:r>
          </a:p>
          <a:p>
            <a:r>
              <a:rPr lang="en-US" sz="1000" dirty="0" smtClean="0"/>
              <a:t>All Best Practices are available for reference in KM Portal which can be referred by projects during project planning and execution phases. </a:t>
            </a:r>
          </a:p>
          <a:p>
            <a:r>
              <a:rPr lang="en-US" sz="1000" dirty="0" smtClean="0"/>
              <a:t> </a:t>
            </a:r>
          </a:p>
          <a:p>
            <a:r>
              <a:rPr lang="en-US" sz="1000" dirty="0" smtClean="0"/>
              <a:t>Projects can also submit technical and process related Best Practices in KM Portal which can act as a reference to other similar projects. The submitted Best Practices related to process, are evaluated by QA team and the accepted best practices gets added to Organizational Best practices database.</a:t>
            </a:r>
          </a:p>
          <a:p>
            <a:endParaRPr lang="en-US" sz="1000" dirty="0" smtClean="0"/>
          </a:p>
          <a:p>
            <a:r>
              <a:rPr lang="en-US" sz="1000" dirty="0" smtClean="0"/>
              <a:t>The path for KM portal is as displayed on scree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1" dirty="0" smtClean="0"/>
              <a:t>Note: To play this Video,</a:t>
            </a:r>
            <a:r>
              <a:rPr lang="en-US" sz="1100" b="1" baseline="0" dirty="0" smtClean="0"/>
              <a:t> you need to have a flash player installed!</a:t>
            </a:r>
          </a:p>
          <a:p>
            <a:endParaRPr lang="en-US" sz="1100" dirty="0" smtClean="0"/>
          </a:p>
          <a:p>
            <a:r>
              <a:rPr lang="en-US" sz="1100" dirty="0" smtClean="0"/>
              <a:t>Let us see an example video</a:t>
            </a:r>
            <a:r>
              <a:rPr lang="en-US" sz="1100" baseline="0" dirty="0" smtClean="0"/>
              <a:t> of Europe &amp; Italy and understand what is the difference between both the countries shown here. </a:t>
            </a:r>
          </a:p>
          <a:p>
            <a:endParaRPr lang="en-US" sz="1100" baseline="0" dirty="0" smtClean="0"/>
          </a:p>
          <a:p>
            <a:r>
              <a:rPr lang="en-US" sz="1100" baseline="0" dirty="0" smtClean="0"/>
              <a:t>&lt;Play the video&gt;</a:t>
            </a:r>
          </a:p>
          <a:p>
            <a:endParaRPr lang="en-US" sz="1100" baseline="0" dirty="0" smtClean="0"/>
          </a:p>
          <a:p>
            <a:r>
              <a:rPr lang="en-US" sz="1100" baseline="0" dirty="0" smtClean="0"/>
              <a:t>In this video, Europe has a systematic/disciplined approach in what they are doing. Whereas for Italy, it is not. Hence people of Europe are getting better results in what they are doing than compared to Italy.</a:t>
            </a:r>
            <a:endParaRPr lang="en-US" sz="1100" dirty="0" smtClean="0"/>
          </a:p>
          <a:p>
            <a:endParaRPr lang="en-US" sz="1100" dirty="0" smtClean="0"/>
          </a:p>
          <a:p>
            <a:r>
              <a:rPr lang="en-US" sz="1100" dirty="0" smtClean="0"/>
              <a:t>So to get a better results,</a:t>
            </a:r>
            <a:r>
              <a:rPr lang="en-US" sz="1100" baseline="0" dirty="0" smtClean="0"/>
              <a:t> whatever we do, we need to do it in a systematic / disciplined approach. </a:t>
            </a:r>
          </a:p>
          <a:p>
            <a:endParaRPr lang="en-US" sz="1100" baseline="0" dirty="0" smtClean="0"/>
          </a:p>
          <a:p>
            <a:r>
              <a:rPr lang="en-US" sz="1100" baseline="0" dirty="0" smtClean="0"/>
              <a:t>QMS helps in having the systematic/disciplined approach in the organizati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5</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sz="1000" dirty="0" smtClean="0"/>
              <a:t>Here is the list of Capgemini Recommended Tools which is covered under Infrastructure Management of UPM. Necessary approvals are required for any project specific tailoring on tools .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6</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7</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000" dirty="0" smtClean="0"/>
              <a:t>The slide shows the quality journey of </a:t>
            </a:r>
            <a:r>
              <a:rPr lang="en-GB" sz="1000" dirty="0" err="1" smtClean="0"/>
              <a:t>Capgemini</a:t>
            </a:r>
            <a:r>
              <a:rPr lang="en-GB" sz="1000" dirty="0" smtClean="0"/>
              <a:t> since its Quality Inception in 2001.</a:t>
            </a:r>
            <a:endParaRPr lang="en-US" sz="1000" dirty="0" smtClean="0"/>
          </a:p>
          <a:p>
            <a:r>
              <a:rPr lang="en-GB" sz="1000" dirty="0" smtClean="0"/>
              <a:t>QMS is compliant to CMMI Services L5, ITIL V3, AS 9100, TL 9000, ISO 20K and ISO 9K, etc.</a:t>
            </a:r>
            <a:endParaRPr lang="en-US" sz="1000" dirty="0" smtClean="0"/>
          </a:p>
          <a:p>
            <a:r>
              <a:rPr lang="en-GB" sz="1000" dirty="0" smtClean="0"/>
              <a:t>Along with these certifications – </a:t>
            </a:r>
            <a:r>
              <a:rPr lang="en-GB" sz="1000" dirty="0" err="1" smtClean="0"/>
              <a:t>Capgemini</a:t>
            </a:r>
            <a:r>
              <a:rPr lang="en-GB" sz="1000" dirty="0" smtClean="0"/>
              <a:t> adapts 6 Sigma &amp; Lean as continual improvement methodology. </a:t>
            </a:r>
          </a:p>
          <a:p>
            <a:r>
              <a:rPr lang="en-GB" sz="1000" dirty="0" smtClean="0"/>
              <a:t>We will understand each of these standards, models and certifications in brief, in the coming slid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8</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39</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is slide talks about the different industry standards available and a brief on them.</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0</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1</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2</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3</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r>
              <a:rPr lang="en-US" baseline="0" dirty="0" smtClean="0"/>
              <a:t> Explain using the </a:t>
            </a:r>
            <a:r>
              <a:rPr lang="en-US" baseline="0" dirty="0" err="1" smtClean="0"/>
              <a:t>aeroplane</a:t>
            </a:r>
            <a:r>
              <a:rPr lang="en-US" baseline="0" dirty="0" smtClean="0"/>
              <a:t> example, how important it is to “Doing it Right, The First Time and Every Time”.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Process facilitation is an important</a:t>
            </a:r>
            <a:r>
              <a:rPr lang="en-US" sz="1000" baseline="0" dirty="0" smtClean="0"/>
              <a:t> ingredient to the success of a project. There is always a need to guide the project teams to follow the right process. Not just any process  - something that helps them achieve the fundamental objectives.</a:t>
            </a:r>
          </a:p>
          <a:p>
            <a:endParaRPr lang="en-US" sz="1000" baseline="0" dirty="0" smtClean="0"/>
          </a:p>
          <a:p>
            <a:endParaRPr lang="en-US" sz="1000" baseline="0" dirty="0" smtClean="0"/>
          </a:p>
          <a:p>
            <a:r>
              <a:rPr lang="en-US" sz="1000" baseline="0" dirty="0" smtClean="0"/>
              <a:t>Myth – I will be guided by a process analyst for ALL my process activities</a:t>
            </a:r>
          </a:p>
          <a:p>
            <a:r>
              <a:rPr lang="en-US" sz="1000" baseline="0" dirty="0" err="1" smtClean="0"/>
              <a:t>Mythbuster</a:t>
            </a:r>
            <a:r>
              <a:rPr lang="en-US" sz="1000" baseline="0" dirty="0" smtClean="0"/>
              <a:t> – Busted !! – you have a PQL role in your project who is adequately trained to support the project and project team members on Quality Assurance activities.</a:t>
            </a:r>
            <a:endParaRPr lang="en-US" sz="100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5</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Process assessments will not be a satisfactory substitute for software assessment. Audits</a:t>
            </a:r>
            <a:r>
              <a:rPr lang="en-US" sz="1000" baseline="0" dirty="0" smtClean="0"/>
              <a:t> are carried out typically to verify the conformance of the process followed while executing a project. An audit report typically helps the project team understand the inherent gaps in the process followed in the project and gives an opportunity to improve on the same.</a:t>
            </a:r>
          </a:p>
          <a:p>
            <a:endParaRPr lang="en-US" sz="1000" baseline="0" dirty="0" smtClean="0"/>
          </a:p>
          <a:p>
            <a:r>
              <a:rPr lang="en-US" sz="1000" baseline="0" dirty="0" smtClean="0"/>
              <a:t>Myth – my senior management will have sore eyes on me if my project has non-conformance</a:t>
            </a:r>
          </a:p>
          <a:p>
            <a:r>
              <a:rPr lang="en-US" sz="1000" baseline="0" dirty="0" err="1" smtClean="0"/>
              <a:t>Mythbuster</a:t>
            </a:r>
            <a:r>
              <a:rPr lang="en-US" sz="1000" baseline="0" dirty="0" smtClean="0"/>
              <a:t> – Busted !! – There is adequate cooperation from senior management and QA team to help you bring your project on track to adhere proces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6</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smtClean="0"/>
              <a:t>We’ll be fooling ourselves if we are expecting a clear road ahead of us !! Risks are part of project delivery. The way to mitigate</a:t>
            </a:r>
            <a:r>
              <a:rPr lang="en-US" sz="1000" baseline="0" dirty="0" smtClean="0"/>
              <a:t> and manage a risk differs from situation to situation. One solution does not apply for all.</a:t>
            </a:r>
            <a:endParaRPr lang="en-US" sz="1000" dirty="0" smtClean="0"/>
          </a:p>
          <a:p>
            <a:endParaRPr lang="en-US" sz="1000" dirty="0" smtClean="0"/>
          </a:p>
          <a:p>
            <a:r>
              <a:rPr lang="en-US" sz="1000" dirty="0" smtClean="0"/>
              <a:t>Risk</a:t>
            </a:r>
            <a:r>
              <a:rPr lang="en-US" sz="1000" baseline="0" dirty="0" smtClean="0"/>
              <a:t> Review </a:t>
            </a:r>
            <a:r>
              <a:rPr lang="en-US" sz="1000" dirty="0" smtClean="0"/>
              <a:t>Criteria:</a:t>
            </a:r>
          </a:p>
          <a:p>
            <a:r>
              <a:rPr lang="en-US" sz="1000" kern="1200" dirty="0" smtClean="0">
                <a:solidFill>
                  <a:schemeClr val="tx1"/>
                </a:solidFill>
                <a:latin typeface="+mn-lt"/>
                <a:ea typeface="+mn-ea"/>
                <a:cs typeface="+mn-cs"/>
              </a:rPr>
              <a:t>QA – i.e. offshore FTE ≥ 8; excluding Staff Aug./Capacity Cushion projects.</a:t>
            </a:r>
          </a:p>
          <a:p>
            <a:r>
              <a:rPr lang="en-US" sz="1000" kern="1200" dirty="0" smtClean="0">
                <a:solidFill>
                  <a:schemeClr val="tx1"/>
                </a:solidFill>
                <a:latin typeface="+mn-lt"/>
                <a:ea typeface="+mn-ea"/>
                <a:cs typeface="+mn-cs"/>
              </a:rPr>
              <a:t> </a:t>
            </a:r>
          </a:p>
          <a:p>
            <a:r>
              <a:rPr lang="en-US" sz="1000" kern="1200" dirty="0" smtClean="0">
                <a:solidFill>
                  <a:schemeClr val="tx1"/>
                </a:solidFill>
                <a:latin typeface="+mn-lt"/>
                <a:ea typeface="+mn-ea"/>
                <a:cs typeface="+mn-cs"/>
              </a:rPr>
              <a:t>SBU/TLI delivery dashboards, CEO report (projects in Red/Amber from QA perspective), OTACE scores, self-assessment RATs, review requests from PMs/EMs/higher management – these are the main inputs for prioritizing and scheduling risk review.</a:t>
            </a:r>
          </a:p>
          <a:p>
            <a:endParaRPr lang="en-US" sz="1000" dirty="0" smtClean="0"/>
          </a:p>
          <a:p>
            <a:r>
              <a:rPr lang="en-US" sz="1000" dirty="0" smtClean="0"/>
              <a:t>Myth – There is no easy way to foresee</a:t>
            </a:r>
            <a:r>
              <a:rPr lang="en-US" sz="1000" baseline="0" dirty="0" smtClean="0"/>
              <a:t> project related risks !</a:t>
            </a:r>
          </a:p>
          <a:p>
            <a:r>
              <a:rPr lang="en-US" sz="1000" baseline="0" dirty="0" err="1" smtClean="0"/>
              <a:t>Mythbuster</a:t>
            </a:r>
            <a:r>
              <a:rPr lang="en-US" sz="1000" baseline="0" dirty="0" smtClean="0"/>
              <a:t> – True. But we are always there to help !!</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7</a:t>
            </a:fld>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Less numbers and proactive metrics are only save business risk. Expectation of quality models mostly contradict on this.</a:t>
            </a:r>
          </a:p>
          <a:p>
            <a:endParaRPr lang="en-US" sz="1000" dirty="0" smtClean="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smtClean="0"/>
              <a:t>service quality is more difficult for the consumer to evaluate than product quality. Service quality perceptions result from a comparison of consumer expectations with actual service performance and Quality evaluations are not based solely on the outcome of a service but also involve evaluation of the delivery lifecycle</a:t>
            </a:r>
          </a:p>
          <a:p>
            <a:pPr marL="0" marR="0" indent="0" algn="l" defTabSz="761921" rtl="0" eaLnBrk="1" fontAlgn="auto" latinLnBrk="0" hangingPunct="1">
              <a:lnSpc>
                <a:spcPct val="100000"/>
              </a:lnSpc>
              <a:spcBef>
                <a:spcPts val="0"/>
              </a:spcBef>
              <a:spcAft>
                <a:spcPts val="0"/>
              </a:spcAft>
              <a:buClrTx/>
              <a:buSzTx/>
              <a:buFontTx/>
              <a:buNone/>
              <a:tabLst/>
              <a:defRPr/>
            </a:pPr>
            <a:endParaRPr lang="en-US" sz="1000" dirty="0" smtClean="0"/>
          </a:p>
          <a:p>
            <a:pPr marL="0" marR="0" indent="0" algn="l" defTabSz="761921" rtl="0" eaLnBrk="1" fontAlgn="auto" latinLnBrk="0" hangingPunct="1">
              <a:lnSpc>
                <a:spcPct val="100000"/>
              </a:lnSpc>
              <a:spcBef>
                <a:spcPts val="0"/>
              </a:spcBef>
              <a:spcAft>
                <a:spcPts val="0"/>
              </a:spcAft>
              <a:buClrTx/>
              <a:buSzTx/>
              <a:buFontTx/>
              <a:buNone/>
              <a:tabLst/>
              <a:defRPr/>
            </a:pPr>
            <a:r>
              <a:rPr lang="en-US" sz="1000" dirty="0" smtClean="0"/>
              <a:t>Myth – I can set up my own</a:t>
            </a:r>
            <a:r>
              <a:rPr lang="en-US" sz="1000" baseline="0" dirty="0" smtClean="0"/>
              <a:t> yardstick to </a:t>
            </a:r>
            <a:r>
              <a:rPr lang="en-US" sz="1000" baseline="0" dirty="0" err="1" smtClean="0"/>
              <a:t>guage</a:t>
            </a:r>
            <a:r>
              <a:rPr lang="en-US" sz="1000" baseline="0" dirty="0" smtClean="0"/>
              <a:t> my project</a:t>
            </a:r>
          </a:p>
          <a:p>
            <a:pPr marL="0" marR="0" indent="0" algn="l" defTabSz="761921" rtl="0" eaLnBrk="1" fontAlgn="auto" latinLnBrk="0" hangingPunct="1">
              <a:lnSpc>
                <a:spcPct val="100000"/>
              </a:lnSpc>
              <a:spcBef>
                <a:spcPts val="0"/>
              </a:spcBef>
              <a:spcAft>
                <a:spcPts val="0"/>
              </a:spcAft>
              <a:buClrTx/>
              <a:buSzTx/>
              <a:buFontTx/>
              <a:buNone/>
              <a:tabLst/>
              <a:defRPr/>
            </a:pPr>
            <a:r>
              <a:rPr lang="en-US" sz="1000" baseline="0" dirty="0" err="1" smtClean="0"/>
              <a:t>Mythbusteer</a:t>
            </a:r>
            <a:r>
              <a:rPr lang="en-US" sz="1000" baseline="0" dirty="0" smtClean="0"/>
              <a:t> – Busted !! – we have </a:t>
            </a:r>
            <a:r>
              <a:rPr lang="en-US" sz="1000" baseline="0" dirty="0" err="1" smtClean="0"/>
              <a:t>Organisation</a:t>
            </a:r>
            <a:r>
              <a:rPr lang="en-US" sz="1000" baseline="0" dirty="0" smtClean="0"/>
              <a:t> level benchmark available in Process Capability Baseline documents</a:t>
            </a:r>
            <a:endParaRPr lang="en-US" sz="100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8</a:t>
            </a:fld>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80000"/>
              </a:lnSpc>
            </a:pPr>
            <a:r>
              <a:rPr lang="en-US" sz="1000" dirty="0" smtClean="0"/>
              <a:t>The most distinguishing feature of 6 Sigma – is that it is a Data Driven.  Data drives every phase of the methodology.  So if you have a problem and have no data and know the solution, don’t turn to Six Sigma because it is for solving problems where solutions are not known and where data can be accessed or collected. </a:t>
            </a:r>
          </a:p>
          <a:p>
            <a:pPr>
              <a:lnSpc>
                <a:spcPct val="80000"/>
              </a:lnSpc>
            </a:pPr>
            <a:r>
              <a:rPr lang="en-US" sz="1000" dirty="0" smtClean="0"/>
              <a:t>It is a Business philosophy – putting  customer’s first.  How does that relate to Humana’s business philosophy (Perfect Service)? </a:t>
            </a:r>
          </a:p>
          <a:p>
            <a:pPr>
              <a:lnSpc>
                <a:spcPct val="80000"/>
              </a:lnSpc>
            </a:pPr>
            <a:r>
              <a:rPr lang="en-US" sz="1000" dirty="0" smtClean="0"/>
              <a:t>Who has ever been to a foreign country where you did not know the native language very well?   How easy was it to communicate and get things done?    Talk about how Six Sigma is an cross-industry and actually an international improvement methodology.  When we have Black Belts and Green Belts who join Humana, we can immediately talk to them in the same language around improvement methods and about tools used to understand and improve processes.  Share an example where you have encountered this. </a:t>
            </a:r>
          </a:p>
          <a:p>
            <a:pPr>
              <a:lnSpc>
                <a:spcPct val="80000"/>
              </a:lnSpc>
            </a:pPr>
            <a:r>
              <a:rPr lang="en-US" sz="1000" dirty="0" smtClean="0"/>
              <a:t>Lastly, six sigma is a universal measurement of performance based on defects per million opportunities.   This allows us to take any process and convert it to a standard measure (million opportunities) so that we can compare any process and understand the defect rate. </a:t>
            </a:r>
          </a:p>
          <a:p>
            <a:pPr>
              <a:lnSpc>
                <a:spcPct val="80000"/>
              </a:lnSpc>
            </a:pPr>
            <a:r>
              <a:rPr lang="en-US" sz="1000" dirty="0" smtClean="0"/>
              <a:t>Let’s try an example:  If we have an error rate of 5% for one process, we can take .05 x one million and we know that our DPMO is ?  (50,000).  So for every million claims we process, 50,000 are defective.  And if we have an error rate of 10% on another process, our DPMO would be?(100,000)</a:t>
            </a:r>
          </a:p>
          <a:p>
            <a:pPr>
              <a:lnSpc>
                <a:spcPct val="80000"/>
              </a:lnSpc>
            </a:pPr>
            <a:r>
              <a:rPr lang="en-US" sz="1000" b="1" dirty="0" smtClean="0">
                <a:solidFill>
                  <a:srgbClr val="000000"/>
                </a:solidFill>
              </a:rPr>
              <a:t>Most companies now view it as a business strategy and a methodology for improving process performance in such a way that customer satisfaction is increased and the bottom line is improved.</a:t>
            </a:r>
          </a:p>
          <a:p>
            <a:pPr>
              <a:lnSpc>
                <a:spcPct val="80000"/>
              </a:lnSpc>
            </a:pPr>
            <a:r>
              <a:rPr lang="en-US" sz="1000" b="1" dirty="0" smtClean="0">
                <a:solidFill>
                  <a:srgbClr val="000000"/>
                </a:solidFill>
              </a:rPr>
              <a:t>It is a managerial initiative AND a set of methods and tools</a:t>
            </a:r>
            <a:endParaRPr lang="en-US" sz="1000" dirty="0" smtClean="0"/>
          </a:p>
          <a:p>
            <a:pPr>
              <a:lnSpc>
                <a:spcPct val="80000"/>
              </a:lnSpc>
            </a:pPr>
            <a:r>
              <a:rPr lang="en-US" sz="1000" dirty="0" smtClean="0"/>
              <a:t>Initiative:</a:t>
            </a:r>
          </a:p>
          <a:p>
            <a:pPr>
              <a:lnSpc>
                <a:spcPct val="80000"/>
              </a:lnSpc>
            </a:pPr>
            <a:r>
              <a:rPr lang="en-US" sz="1000" dirty="0" smtClean="0"/>
              <a:t> </a:t>
            </a:r>
            <a:r>
              <a:rPr lang="en-US" sz="1000" dirty="0" smtClean="0">
                <a:solidFill>
                  <a:srgbClr val="000000"/>
                </a:solidFill>
              </a:rPr>
              <a:t>Improvement</a:t>
            </a:r>
          </a:p>
          <a:p>
            <a:pPr>
              <a:lnSpc>
                <a:spcPct val="80000"/>
              </a:lnSpc>
            </a:pPr>
            <a:r>
              <a:rPr lang="en-US" sz="1000" dirty="0" smtClean="0">
                <a:solidFill>
                  <a:srgbClr val="000000"/>
                </a:solidFill>
              </a:rPr>
              <a:t> Breakthrough</a:t>
            </a:r>
          </a:p>
          <a:p>
            <a:pPr>
              <a:lnSpc>
                <a:spcPct val="80000"/>
              </a:lnSpc>
            </a:pPr>
            <a:r>
              <a:rPr lang="en-US" sz="1000" dirty="0" smtClean="0">
                <a:solidFill>
                  <a:srgbClr val="000000"/>
                </a:solidFill>
              </a:rPr>
              <a:t> Systematic, Focused Approach</a:t>
            </a:r>
          </a:p>
          <a:p>
            <a:pPr>
              <a:lnSpc>
                <a:spcPct val="80000"/>
              </a:lnSpc>
            </a:pPr>
            <a:r>
              <a:rPr lang="en-US" sz="1000" dirty="0" smtClean="0">
                <a:solidFill>
                  <a:srgbClr val="000000"/>
                </a:solidFill>
              </a:rPr>
              <a:t> Right Projects linked to business goals</a:t>
            </a:r>
          </a:p>
          <a:p>
            <a:pPr>
              <a:lnSpc>
                <a:spcPct val="80000"/>
              </a:lnSpc>
            </a:pPr>
            <a:r>
              <a:rPr lang="en-US" sz="1000" dirty="0" smtClean="0">
                <a:solidFill>
                  <a:srgbClr val="000000"/>
                </a:solidFill>
              </a:rPr>
              <a:t> Right People selected and trained</a:t>
            </a:r>
          </a:p>
          <a:p>
            <a:pPr>
              <a:lnSpc>
                <a:spcPct val="80000"/>
              </a:lnSpc>
            </a:pPr>
            <a:r>
              <a:rPr lang="en-US" sz="1000" dirty="0" smtClean="0">
                <a:solidFill>
                  <a:srgbClr val="000000"/>
                </a:solidFill>
              </a:rPr>
              <a:t> Project Management and Reviews</a:t>
            </a:r>
          </a:p>
          <a:p>
            <a:pPr>
              <a:lnSpc>
                <a:spcPct val="80000"/>
              </a:lnSpc>
            </a:pPr>
            <a:r>
              <a:rPr lang="en-US" sz="1000" dirty="0" smtClean="0">
                <a:solidFill>
                  <a:srgbClr val="000000"/>
                </a:solidFill>
              </a:rPr>
              <a:t> Sustain the Gain with  New Projects</a:t>
            </a:r>
          </a:p>
          <a:p>
            <a:pPr>
              <a:lnSpc>
                <a:spcPct val="80000"/>
              </a:lnSpc>
            </a:pPr>
            <a:r>
              <a:rPr lang="en-US" sz="1000" dirty="0" smtClean="0">
                <a:solidFill>
                  <a:srgbClr val="000000"/>
                </a:solidFill>
              </a:rPr>
              <a:t> Results – Process and Financial</a:t>
            </a:r>
          </a:p>
          <a:p>
            <a:pPr>
              <a:lnSpc>
                <a:spcPct val="80000"/>
              </a:lnSpc>
            </a:pPr>
            <a:endParaRPr lang="en-US" sz="1000" dirty="0" smtClean="0">
              <a:solidFill>
                <a:srgbClr val="000000"/>
              </a:solidFill>
            </a:endParaRPr>
          </a:p>
          <a:p>
            <a:pPr>
              <a:lnSpc>
                <a:spcPct val="80000"/>
              </a:lnSpc>
            </a:pPr>
            <a:r>
              <a:rPr lang="en-US" sz="1000" dirty="0" smtClean="0">
                <a:solidFill>
                  <a:srgbClr val="000000"/>
                </a:solidFill>
              </a:rPr>
              <a:t>Methods and Tools:</a:t>
            </a:r>
          </a:p>
          <a:p>
            <a:pPr>
              <a:lnSpc>
                <a:spcPct val="80000"/>
              </a:lnSpc>
            </a:pPr>
            <a:r>
              <a:rPr lang="en-US" sz="1000" dirty="0" smtClean="0">
                <a:solidFill>
                  <a:srgbClr val="000000"/>
                </a:solidFill>
              </a:rPr>
              <a:t>Process Thinking</a:t>
            </a:r>
          </a:p>
          <a:p>
            <a:pPr>
              <a:lnSpc>
                <a:spcPct val="80000"/>
              </a:lnSpc>
            </a:pPr>
            <a:r>
              <a:rPr lang="en-US" sz="1000" dirty="0" smtClean="0">
                <a:solidFill>
                  <a:srgbClr val="000000"/>
                </a:solidFill>
              </a:rPr>
              <a:t> Process Variation</a:t>
            </a:r>
          </a:p>
          <a:p>
            <a:pPr>
              <a:lnSpc>
                <a:spcPct val="80000"/>
              </a:lnSpc>
            </a:pPr>
            <a:r>
              <a:rPr lang="en-US" sz="1000" dirty="0" smtClean="0">
                <a:solidFill>
                  <a:srgbClr val="000000"/>
                </a:solidFill>
              </a:rPr>
              <a:t> Facts, Figures, Data</a:t>
            </a:r>
          </a:p>
          <a:p>
            <a:pPr>
              <a:lnSpc>
                <a:spcPct val="80000"/>
              </a:lnSpc>
            </a:pPr>
            <a:r>
              <a:rPr lang="en-US" sz="1000" dirty="0" smtClean="0">
                <a:solidFill>
                  <a:srgbClr val="000000"/>
                </a:solidFill>
              </a:rPr>
              <a:t> DMAIC</a:t>
            </a:r>
          </a:p>
          <a:p>
            <a:pPr>
              <a:lnSpc>
                <a:spcPct val="80000"/>
              </a:lnSpc>
            </a:pPr>
            <a:r>
              <a:rPr lang="en-US" sz="1000" dirty="0" smtClean="0">
                <a:solidFill>
                  <a:srgbClr val="000000"/>
                </a:solidFill>
              </a:rPr>
              <a:t> DFSS (DMADV)</a:t>
            </a:r>
          </a:p>
          <a:p>
            <a:pPr>
              <a:lnSpc>
                <a:spcPct val="80000"/>
              </a:lnSpc>
            </a:pPr>
            <a:r>
              <a:rPr lang="en-US" sz="1000" dirty="0" smtClean="0">
                <a:solidFill>
                  <a:srgbClr val="000000"/>
                </a:solidFill>
              </a:rPr>
              <a:t> Statistical Tools</a:t>
            </a:r>
          </a:p>
          <a:p>
            <a:pPr>
              <a:lnSpc>
                <a:spcPct val="80000"/>
              </a:lnSpc>
            </a:pPr>
            <a:r>
              <a:rPr lang="en-US" sz="1000" dirty="0" smtClean="0">
                <a:solidFill>
                  <a:srgbClr val="000000"/>
                </a:solidFill>
              </a:rPr>
              <a:t> Statistical Software</a:t>
            </a:r>
          </a:p>
          <a:p>
            <a:pPr>
              <a:lnSpc>
                <a:spcPct val="80000"/>
              </a:lnSpc>
            </a:pPr>
            <a:r>
              <a:rPr lang="en-US" sz="1000" dirty="0" smtClean="0">
                <a:solidFill>
                  <a:srgbClr val="000000"/>
                </a:solidFill>
              </a:rPr>
              <a:t> Critical Few Variable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49</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Project planning and resource management</a:t>
            </a:r>
            <a:r>
              <a:rPr lang="en-US" sz="1000" baseline="0" dirty="0" smtClean="0"/>
              <a:t> are crucial elements for a successful project delivery. Standard quality principles assist you to in your planning activities and guide you in the right direction.</a:t>
            </a:r>
          </a:p>
          <a:p>
            <a:endParaRPr lang="en-US" sz="1000" baseline="0" dirty="0" smtClean="0"/>
          </a:p>
          <a:p>
            <a:r>
              <a:rPr lang="en-US" sz="1000" baseline="0" dirty="0" smtClean="0"/>
              <a:t>Myth – Project planning is the responsibility of project manager alone. I don’t have a role to play in it</a:t>
            </a:r>
          </a:p>
          <a:p>
            <a:r>
              <a:rPr lang="en-US" sz="1000" baseline="0" dirty="0" err="1" smtClean="0"/>
              <a:t>Mythbuster</a:t>
            </a:r>
            <a:r>
              <a:rPr lang="en-US" sz="1000" baseline="0" dirty="0" smtClean="0"/>
              <a:t> – Busted !! – Although the overall plan is owned by the project manager, all project stakeholder contribute to project planning.</a:t>
            </a:r>
            <a:endParaRPr lang="en-US" sz="100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0</a:t>
            </a:fld>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1</a:t>
            </a:fld>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2</a:t>
            </a:fld>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3</a:t>
            </a:fld>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th an </a:t>
            </a:r>
            <a:r>
              <a:rPr lang="en-US" baseline="0" dirty="0" smtClean="0"/>
              <a:t>example </a:t>
            </a:r>
            <a:r>
              <a:rPr lang="en-US" dirty="0" smtClean="0"/>
              <a:t>&amp; we will</a:t>
            </a:r>
            <a:r>
              <a:rPr lang="en-US" baseline="0" dirty="0" smtClean="0"/>
              <a:t> try to </a:t>
            </a:r>
            <a:r>
              <a:rPr lang="en-US" dirty="0" smtClean="0"/>
              <a:t>understand how a software application is developed in a software</a:t>
            </a:r>
            <a:r>
              <a:rPr lang="en-US" baseline="0" dirty="0" smtClean="0"/>
              <a:t> industry. </a:t>
            </a:r>
          </a:p>
          <a:p>
            <a:r>
              <a:rPr lang="en-US" baseline="0" dirty="0" smtClean="0"/>
              <a:t>Let us consider we are developing a very familiar mobile application “</a:t>
            </a:r>
            <a:r>
              <a:rPr lang="en-US" baseline="0" dirty="0" err="1" smtClean="0"/>
              <a:t>WhatsApp</a:t>
            </a:r>
            <a:r>
              <a:rPr lang="en-US" baseline="0" dirty="0" smtClean="0"/>
              <a:t>”. </a:t>
            </a:r>
          </a:p>
          <a:p>
            <a:endParaRPr lang="en-US" baseline="0" dirty="0" smtClean="0"/>
          </a:p>
          <a:p>
            <a:r>
              <a:rPr lang="en-US" baseline="0" dirty="0" smtClean="0"/>
              <a:t>Firstly, we identify &amp; gather all the requirements for the mobile app, what is the need of people.</a:t>
            </a:r>
          </a:p>
          <a:p>
            <a:r>
              <a:rPr lang="en-US" baseline="0" dirty="0" smtClean="0"/>
              <a:t>We analyze all those needs &amp; finalize them.</a:t>
            </a:r>
          </a:p>
          <a:p>
            <a:r>
              <a:rPr lang="en-US" baseline="0" dirty="0" smtClean="0"/>
              <a:t>Then design the application based on the requirements. Here we will identify what technology to be used, how to place the all the functions, security requirements etc.. </a:t>
            </a:r>
          </a:p>
          <a:p>
            <a:r>
              <a:rPr lang="en-US" baseline="0" dirty="0" smtClean="0"/>
              <a:t>Once the design is done. We will start with the coding / development of the mobile app.</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7</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5</a:t>
            </a:fld>
            <a:endParaRPr 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6</a:t>
            </a:fld>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7</a:t>
            </a:fld>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8</a:t>
            </a:fld>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59</a:t>
            </a:fld>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0</a:t>
            </a:fld>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1</a:t>
            </a:fld>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is slide talks about why to capture the effor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By capturing the size of the task, estimated effort, actual effort and actual dates… we are going to get the below </a:t>
            </a:r>
            <a:r>
              <a:rPr lang="en-US" sz="1000" kern="1200" baseline="0" dirty="0" err="1" smtClean="0">
                <a:solidFill>
                  <a:schemeClr val="tx1"/>
                </a:solidFill>
                <a:latin typeface="Calibri" pitchFamily="34" charset="0"/>
                <a:ea typeface="+mn-ea"/>
                <a:cs typeface="+mn-cs"/>
              </a:rPr>
              <a:t>matrics</a:t>
            </a:r>
            <a:r>
              <a:rPr lang="en-US" sz="1000" kern="1200" baseline="0" dirty="0" smtClean="0">
                <a:solidFill>
                  <a:schemeClr val="tx1"/>
                </a:solidFill>
                <a:latin typeface="Calibri" pitchFamily="34" charset="0"/>
                <a:ea typeface="+mn-ea"/>
                <a:cs typeface="+mn-cs"/>
              </a:rPr>
              <a:t>  which will be used to monitor and track the progress of the project/</a:t>
            </a:r>
            <a:r>
              <a:rPr lang="en-US" sz="1000" kern="1200" baseline="0" dirty="0" err="1" smtClean="0">
                <a:solidFill>
                  <a:schemeClr val="tx1"/>
                </a:solidFill>
                <a:latin typeface="Calibri" pitchFamily="34" charset="0"/>
                <a:ea typeface="+mn-ea"/>
                <a:cs typeface="+mn-cs"/>
              </a:rPr>
              <a:t>enagement</a:t>
            </a:r>
            <a:r>
              <a:rPr lang="en-US" sz="1000" kern="1200" baseline="0" dirty="0" smtClean="0">
                <a:solidFill>
                  <a:schemeClr val="tx1"/>
                </a:solidFill>
                <a:latin typeface="Calibri" pitchFamily="34" charset="0"/>
                <a:ea typeface="+mn-ea"/>
                <a:cs typeface="+mn-cs"/>
              </a:rPr>
              <a:t>.</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Metrics: </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Cost of Quality (Prevention </a:t>
            </a:r>
            <a:r>
              <a:rPr lang="en-US" sz="1000" dirty="0" err="1" smtClean="0">
                <a:solidFill>
                  <a:schemeClr val="tx2">
                    <a:lumMod val="50000"/>
                  </a:schemeClr>
                </a:solidFill>
                <a:latin typeface="Arial" pitchFamily="34" charset="0"/>
                <a:cs typeface="Arial" pitchFamily="34" charset="0"/>
              </a:rPr>
              <a:t>Cost+Appraisal</a:t>
            </a:r>
            <a:r>
              <a:rPr lang="en-US" sz="1000" dirty="0" smtClean="0">
                <a:solidFill>
                  <a:schemeClr val="tx2">
                    <a:lumMod val="50000"/>
                  </a:schemeClr>
                </a:solidFill>
                <a:latin typeface="Arial" pitchFamily="34" charset="0"/>
                <a:cs typeface="Arial" pitchFamily="34" charset="0"/>
              </a:rPr>
              <a:t> </a:t>
            </a:r>
            <a:r>
              <a:rPr lang="en-US" sz="1000" dirty="0" err="1" smtClean="0">
                <a:solidFill>
                  <a:schemeClr val="tx2">
                    <a:lumMod val="50000"/>
                  </a:schemeClr>
                </a:solidFill>
                <a:latin typeface="Arial" pitchFamily="34" charset="0"/>
                <a:cs typeface="Arial" pitchFamily="34" charset="0"/>
              </a:rPr>
              <a:t>Cost+Failure</a:t>
            </a:r>
            <a:r>
              <a:rPr lang="en-US" sz="1000" dirty="0" smtClean="0">
                <a:solidFill>
                  <a:schemeClr val="tx2">
                    <a:lumMod val="50000"/>
                  </a:schemeClr>
                </a:solidFill>
                <a:latin typeface="Arial" pitchFamily="34" charset="0"/>
                <a:cs typeface="Arial" pitchFamily="34" charset="0"/>
              </a:rPr>
              <a:t> Cost)</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2</a:t>
            </a:fld>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This slide talks about why to capture the defects. </a:t>
            </a:r>
          </a:p>
          <a:p>
            <a:pPr marL="0" marR="0" indent="0" algn="l" defTabSz="912813"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By capturing the size of the task, actual effort, no. of defects, severity, stage, error category, root cause etc.. we are going to get the below metrics which will be used to monitor and track the progress of the project/engagement, identify process improvements etc...</a:t>
            </a:r>
          </a:p>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a:p>
            <a:r>
              <a:rPr lang="en-US" sz="1000" b="1" dirty="0" smtClean="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000" dirty="0" smtClean="0">
                <a:solidFill>
                  <a:schemeClr val="tx2">
                    <a:lumMod val="50000"/>
                  </a:schemeClr>
                </a:solidFill>
                <a:latin typeface="Arial" pitchFamily="34" charset="0"/>
                <a:cs typeface="Arial" pitchFamily="34" charset="0"/>
              </a:rPr>
              <a:t>Defect Removal Efficiency (Pre-delivery &amp; Post-delivery defect comparison)</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3</a:t>
            </a:fld>
            <a:endParaRPr 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the agenda</a:t>
            </a:r>
            <a:r>
              <a:rPr lang="en-US" baseline="0" dirty="0" smtClean="0"/>
              <a:t> for today’s session. </a:t>
            </a:r>
          </a:p>
          <a:p>
            <a:r>
              <a:rPr lang="en-US" baseline="0" dirty="0" smtClean="0"/>
              <a:t>We will be going through some generic terminologies, Quality terminologies, QMS &amp; Its components, QMS Portal, The Global QMS </a:t>
            </a:r>
            <a:r>
              <a:rPr lang="en-US" baseline="0" dirty="0" err="1" smtClean="0"/>
              <a:t>i.e</a:t>
            </a:r>
            <a:r>
              <a:rPr lang="en-US" baseline="0" dirty="0" smtClean="0"/>
              <a:t> Deliver, The Best practice /sample records database KM Portal, We will look at the Capgemini recommended tools, Capgemini Quality Journey, Industry Standards, India QA Department – Its structure &amp; services, Walkthrough of some basic templates, why to capture efforts, defects etc…</a:t>
            </a:r>
          </a:p>
          <a:p>
            <a:endParaRPr lang="en-US" baseline="0" dirty="0" smtClean="0"/>
          </a:p>
          <a:p>
            <a:r>
              <a:rPr lang="en-US" baseline="0" dirty="0" smtClean="0"/>
              <a:t>We will also be taking you through some case studies and games related to QMS.</a:t>
            </a: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r>
              <a:rPr lang="en-US" baseline="0" dirty="0" smtClean="0"/>
              <a:t>: Explain the definition of the SDLC and its phases considering the </a:t>
            </a:r>
            <a:r>
              <a:rPr lang="en-US" baseline="0" dirty="0" err="1" smtClean="0"/>
              <a:t>WhatsApp</a:t>
            </a:r>
            <a:r>
              <a:rPr lang="en-US" baseline="0" dirty="0" smtClean="0"/>
              <a:t> software Development app.</a:t>
            </a:r>
          </a:p>
          <a:p>
            <a:endParaRPr lang="en-US" baseline="0" dirty="0" smtClean="0"/>
          </a:p>
          <a:p>
            <a:pPr marL="0" marR="0" indent="0" algn="l" defTabSz="912813" rtl="0" eaLnBrk="0" fontAlgn="base" latinLnBrk="0" hangingPunct="0">
              <a:lnSpc>
                <a:spcPct val="100000"/>
              </a:lnSpc>
              <a:spcBef>
                <a:spcPct val="30000"/>
              </a:spcBef>
              <a:spcAft>
                <a:spcPct val="0"/>
              </a:spcAft>
              <a:buClrTx/>
              <a:buSzTx/>
              <a:buFontTx/>
              <a:buNone/>
              <a:tabLst/>
              <a:defRPr/>
            </a:pPr>
            <a:r>
              <a:rPr lang="en-US" sz="1200" dirty="0" smtClean="0">
                <a:solidFill>
                  <a:schemeClr val="tx2">
                    <a:lumMod val="50000"/>
                  </a:schemeClr>
                </a:solidFill>
              </a:rPr>
              <a:t>Following are the most important and popular SDLC models followed in the industry:</a:t>
            </a:r>
          </a:p>
          <a:p>
            <a:pPr lvl="1">
              <a:buFont typeface="Wingdings" pitchFamily="2" charset="2"/>
              <a:buChar char="ü"/>
            </a:pPr>
            <a:r>
              <a:rPr lang="en-US" sz="1400" dirty="0" smtClean="0">
                <a:solidFill>
                  <a:schemeClr val="tx2">
                    <a:lumMod val="50000"/>
                  </a:schemeClr>
                </a:solidFill>
              </a:rPr>
              <a:t>Waterfall Model</a:t>
            </a:r>
          </a:p>
          <a:p>
            <a:pPr lvl="1">
              <a:buFont typeface="Wingdings" pitchFamily="2" charset="2"/>
              <a:buChar char="ü"/>
            </a:pPr>
            <a:r>
              <a:rPr lang="en-US" sz="1400" dirty="0" smtClean="0">
                <a:solidFill>
                  <a:schemeClr val="tx2">
                    <a:lumMod val="50000"/>
                  </a:schemeClr>
                </a:solidFill>
              </a:rPr>
              <a:t>Iterative Model</a:t>
            </a:r>
          </a:p>
          <a:p>
            <a:pPr lvl="1">
              <a:buFont typeface="Wingdings" pitchFamily="2" charset="2"/>
              <a:buChar char="ü"/>
            </a:pPr>
            <a:r>
              <a:rPr lang="en-US" sz="1400" dirty="0" smtClean="0">
                <a:solidFill>
                  <a:schemeClr val="tx2">
                    <a:lumMod val="50000"/>
                  </a:schemeClr>
                </a:solidFill>
              </a:rPr>
              <a:t>Spiral Model</a:t>
            </a:r>
          </a:p>
          <a:p>
            <a:pPr lvl="1">
              <a:buFont typeface="Wingdings" pitchFamily="2" charset="2"/>
              <a:buChar char="ü"/>
            </a:pPr>
            <a:r>
              <a:rPr lang="en-US" sz="1400" dirty="0" smtClean="0">
                <a:solidFill>
                  <a:schemeClr val="tx2">
                    <a:lumMod val="50000"/>
                  </a:schemeClr>
                </a:solidFill>
              </a:rPr>
              <a:t>V-Model</a:t>
            </a:r>
          </a:p>
          <a:p>
            <a:pPr lvl="1">
              <a:buFont typeface="Wingdings" pitchFamily="2" charset="2"/>
              <a:buChar char="ü"/>
            </a:pPr>
            <a:r>
              <a:rPr lang="en-US" sz="1400" dirty="0" smtClean="0">
                <a:solidFill>
                  <a:schemeClr val="tx2">
                    <a:lumMod val="50000"/>
                  </a:schemeClr>
                </a:solidFill>
              </a:rPr>
              <a:t>Big Bang Model</a:t>
            </a:r>
          </a:p>
          <a:p>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0</a:t>
            </a:fld>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5</a:t>
            </a:fld>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6</a:t>
            </a:fld>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7</a:t>
            </a:fld>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6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 Explain</a:t>
            </a:r>
            <a:r>
              <a:rPr lang="en-US" baseline="0" dirty="0" smtClean="0"/>
              <a:t> the different SDLC models using the screenshots.</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2813" rtl="0" eaLnBrk="0" fontAlgn="base" latinLnBrk="0" hangingPunct="0">
              <a:lnSpc>
                <a:spcPct val="100000"/>
              </a:lnSpc>
              <a:spcBef>
                <a:spcPct val="30000"/>
              </a:spcBef>
              <a:spcAft>
                <a:spcPct val="0"/>
              </a:spcAft>
              <a:buClrTx/>
              <a:buSzTx/>
              <a:buFontTx/>
              <a:buNone/>
              <a:tabLst/>
              <a:defRPr/>
            </a:pPr>
            <a:endParaRPr lang="en-US" sz="1000" kern="1200" baseline="0" dirty="0" smtClean="0">
              <a:solidFill>
                <a:schemeClr val="tx1"/>
              </a:solidFill>
              <a:latin typeface="Calibri"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 :</a:t>
            </a:r>
            <a:r>
              <a:rPr lang="en-US" baseline="0" dirty="0" smtClean="0"/>
              <a:t> Consider the </a:t>
            </a:r>
            <a:r>
              <a:rPr lang="en-US" baseline="0" dirty="0" err="1" smtClean="0"/>
              <a:t>WhatsApp</a:t>
            </a:r>
            <a:r>
              <a:rPr lang="en-US" baseline="0" dirty="0" smtClean="0"/>
              <a:t> software development scenario to provide the examples to the terminologies. </a:t>
            </a:r>
            <a:endParaRPr lang="en-US" dirty="0"/>
          </a:p>
        </p:txBody>
      </p:sp>
      <p:sp>
        <p:nvSpPr>
          <p:cNvPr id="4" name="Slide Number Placeholder 3"/>
          <p:cNvSpPr>
            <a:spLocks noGrp="1"/>
          </p:cNvSpPr>
          <p:nvPr>
            <p:ph type="sldNum" sz="quarter" idx="10"/>
          </p:nvPr>
        </p:nvSpPr>
        <p:spPr/>
        <p:txBody>
          <a:bodyPr/>
          <a:lstStyle/>
          <a:p>
            <a:pPr>
              <a:defRPr/>
            </a:pPr>
            <a:fld id="{45094F7C-D1E3-429C-A442-3FAF2D4EBF51}" type="slidenum">
              <a:rPr lang="en-US" smtClean="0"/>
              <a:pPr>
                <a:defRPr/>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slideMaster" Target="../slideMasters/slideMaster2.xml"/><Relationship Id="rId26" Type="http://schemas.openxmlformats.org/officeDocument/2006/relationships/image" Target="../media/image9.png"/><Relationship Id="rId3" Type="http://schemas.openxmlformats.org/officeDocument/2006/relationships/tags" Target="../tags/tag77.xml"/><Relationship Id="rId21" Type="http://schemas.openxmlformats.org/officeDocument/2006/relationships/image" Target="../media/image7.png"/><Relationship Id="rId34" Type="http://schemas.openxmlformats.org/officeDocument/2006/relationships/image" Target="../media/image13.png"/><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hyperlink" Target="http://www.linkedin.com/company/capgemini" TargetMode="External"/><Relationship Id="rId33" Type="http://schemas.openxmlformats.org/officeDocument/2006/relationships/oleObject" Target="../embeddings/oleObject19.bin"/><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image" Target="../media/image8.png"/><Relationship Id="rId32" Type="http://schemas.openxmlformats.org/officeDocument/2006/relationships/image" Target="../media/image12.gif"/><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hyperlink" Target="http://www.facebook.com/Capgemini" TargetMode="External"/><Relationship Id="rId28" Type="http://schemas.openxmlformats.org/officeDocument/2006/relationships/image" Target="../media/image10.png"/><Relationship Id="rId10" Type="http://schemas.openxmlformats.org/officeDocument/2006/relationships/tags" Target="../tags/tag84.xml"/><Relationship Id="rId19" Type="http://schemas.openxmlformats.org/officeDocument/2006/relationships/oleObject" Target="../embeddings/oleObject18.bin"/><Relationship Id="rId31" Type="http://schemas.openxmlformats.org/officeDocument/2006/relationships/hyperlink" Target="http://www.slideshare.net/capgemini" TargetMode="Externa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image" Target="../media/image7.png"/><Relationship Id="rId26" Type="http://schemas.openxmlformats.org/officeDocument/2006/relationships/hyperlink" Target="http://www.youtube.com/capgemini" TargetMode="External"/><Relationship Id="rId3" Type="http://schemas.openxmlformats.org/officeDocument/2006/relationships/tags" Target="../tags/tag93.xml"/><Relationship Id="rId21" Type="http://schemas.openxmlformats.org/officeDocument/2006/relationships/image" Target="../media/image8.png"/><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image" Target="../media/image1.emf"/><Relationship Id="rId25" Type="http://schemas.openxmlformats.org/officeDocument/2006/relationships/image" Target="../media/image10.png"/><Relationship Id="rId2" Type="http://schemas.openxmlformats.org/officeDocument/2006/relationships/tags" Target="../tags/tag92.xml"/><Relationship Id="rId16" Type="http://schemas.openxmlformats.org/officeDocument/2006/relationships/oleObject" Target="../embeddings/oleObject20.bin"/><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vmlDrawing" Target="../drawings/vmlDrawing13.v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hyperlink" Target="http://www.twitter.com/capgemini" TargetMode="External"/><Relationship Id="rId5" Type="http://schemas.openxmlformats.org/officeDocument/2006/relationships/tags" Target="../tags/tag95.xml"/><Relationship Id="rId15" Type="http://schemas.openxmlformats.org/officeDocument/2006/relationships/slideMaster" Target="../slideMasters/slideMaster2.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100.xml"/><Relationship Id="rId19" Type="http://schemas.openxmlformats.org/officeDocument/2006/relationships/image" Target="../media/image4.emf"/><Relationship Id="rId31" Type="http://schemas.openxmlformats.org/officeDocument/2006/relationships/image" Target="../media/image13.png"/><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hyperlink" Target="http://www.linkedin.com/company/capgemini" TargetMode="External"/><Relationship Id="rId27" Type="http://schemas.openxmlformats.org/officeDocument/2006/relationships/image" Target="../media/image11.png"/><Relationship Id="rId30"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tags" Target="../tags/tag106.xml"/><Relationship Id="rId21" Type="http://schemas.openxmlformats.org/officeDocument/2006/relationships/hyperlink" Target="http://www.linkedin.com/company/capgemini" TargetMode="Externa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7.png"/><Relationship Id="rId25" Type="http://schemas.openxmlformats.org/officeDocument/2006/relationships/hyperlink" Target="http://www.youtube.com/capgemini" TargetMode="External"/><Relationship Id="rId2" Type="http://schemas.openxmlformats.org/officeDocument/2006/relationships/tags" Target="../tags/tag105.xml"/><Relationship Id="rId16" Type="http://schemas.openxmlformats.org/officeDocument/2006/relationships/image" Target="../media/image1.emf"/><Relationship Id="rId20" Type="http://schemas.openxmlformats.org/officeDocument/2006/relationships/image" Target="../media/image8.png"/><Relationship Id="rId29" Type="http://schemas.openxmlformats.org/officeDocument/2006/relationships/oleObject" Target="../embeddings/oleObject23.bin"/><Relationship Id="rId1" Type="http://schemas.openxmlformats.org/officeDocument/2006/relationships/vmlDrawing" Target="../drawings/vmlDrawing14.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image" Target="../media/image10.png"/><Relationship Id="rId5" Type="http://schemas.openxmlformats.org/officeDocument/2006/relationships/tags" Target="../tags/tag108.xml"/><Relationship Id="rId15" Type="http://schemas.openxmlformats.org/officeDocument/2006/relationships/oleObject" Target="../embeddings/oleObject22.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113.xml"/><Relationship Id="rId19" Type="http://schemas.openxmlformats.org/officeDocument/2006/relationships/hyperlink" Target="http://www.facebook.com/Capgemini" TargetMode="Externa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2.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16.vml"/><Relationship Id="rId6" Type="http://schemas.openxmlformats.org/officeDocument/2006/relationships/oleObject" Target="../embeddings/oleObject25.bin"/><Relationship Id="rId5" Type="http://schemas.openxmlformats.org/officeDocument/2006/relationships/slideMaster" Target="../slideMasters/slideMaster3.xml"/><Relationship Id="rId4" Type="http://schemas.openxmlformats.org/officeDocument/2006/relationships/tags" Target="../tags/tag120.xml"/><Relationship Id="rId9"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2.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5" Type="http://schemas.openxmlformats.org/officeDocument/2006/relationships/oleObject" Target="../embeddings/oleObject4.bin"/><Relationship Id="rId10"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oleObject" Target="../embeddings/oleObject6.bin"/><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tags" Target="../tags/tag27.xml"/><Relationship Id="rId11" Type="http://schemas.openxmlformats.org/officeDocument/2006/relationships/image" Target="../media/image1.emf"/><Relationship Id="rId5" Type="http://schemas.openxmlformats.org/officeDocument/2006/relationships/tags" Target="../tags/tag26.xml"/><Relationship Id="rId10" Type="http://schemas.openxmlformats.org/officeDocument/2006/relationships/oleObject" Target="../embeddings/oleObject5.bin"/><Relationship Id="rId4" Type="http://schemas.openxmlformats.org/officeDocument/2006/relationships/tags" Target="../tags/tag25.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8.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7.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10.bin"/><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image" Target="../media/image1.emf"/><Relationship Id="rId5" Type="http://schemas.openxmlformats.org/officeDocument/2006/relationships/tags" Target="../tags/tag40.xml"/><Relationship Id="rId10" Type="http://schemas.openxmlformats.org/officeDocument/2006/relationships/oleObject" Target="../embeddings/oleObject9.bin"/><Relationship Id="rId4" Type="http://schemas.openxmlformats.org/officeDocument/2006/relationships/tags" Target="../tags/tag39.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2.png"/><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image" Target="../media/image1.emf"/><Relationship Id="rId5" Type="http://schemas.openxmlformats.org/officeDocument/2006/relationships/tags" Target="../tags/tag47.xml"/><Relationship Id="rId10" Type="http://schemas.openxmlformats.org/officeDocument/2006/relationships/oleObject" Target="../embeddings/oleObject11.bin"/><Relationship Id="rId4" Type="http://schemas.openxmlformats.org/officeDocument/2006/relationships/tags" Target="../tags/tag4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oleObject" Target="../embeddings/oleObject14.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2.png"/><Relationship Id="rId2" Type="http://schemas.openxmlformats.org/officeDocument/2006/relationships/tags" Target="../tags/tag51.xml"/><Relationship Id="rId1" Type="http://schemas.openxmlformats.org/officeDocument/2006/relationships/vmlDrawing" Target="../drawings/vmlDrawing8.vml"/><Relationship Id="rId6" Type="http://schemas.openxmlformats.org/officeDocument/2006/relationships/tags" Target="../tags/tag55.xml"/><Relationship Id="rId11" Type="http://schemas.openxmlformats.org/officeDocument/2006/relationships/image" Target="../media/image1.emf"/><Relationship Id="rId5" Type="http://schemas.openxmlformats.org/officeDocument/2006/relationships/tags" Target="../tags/tag54.xml"/><Relationship Id="rId10" Type="http://schemas.openxmlformats.org/officeDocument/2006/relationships/oleObject" Target="../embeddings/oleObject13.bin"/><Relationship Id="rId4" Type="http://schemas.openxmlformats.org/officeDocument/2006/relationships/tags" Target="../tags/tag53.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image" Target="../media/image2.png"/><Relationship Id="rId5" Type="http://schemas.openxmlformats.org/officeDocument/2006/relationships/tags" Target="../tags/tag62.xml"/><Relationship Id="rId10" Type="http://schemas.openxmlformats.org/officeDocument/2006/relationships/image" Target="../media/image1.emf"/><Relationship Id="rId4" Type="http://schemas.openxmlformats.org/officeDocument/2006/relationships/tags" Target="../tags/tag61.xml"/><Relationship Id="rId9" Type="http://schemas.openxmlformats.org/officeDocument/2006/relationships/oleObject" Target="../embeddings/oleObject1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test1.jpg"/>
          <p:cNvPicPr>
            <a:picLocks noChangeAspect="1"/>
          </p:cNvPicPr>
          <p:nvPr userDrawn="1"/>
        </p:nvPicPr>
        <p:blipFill>
          <a:blip r:embed="rId8" cstate="print"/>
          <a:srcRect/>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84"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78" name="think-cell Slide" r:id="rId19" imgW="360" imgH="360" progId="">
                  <p:embed/>
                </p:oleObj>
              </mc:Choice>
              <mc:Fallback>
                <p:oleObj name="think-cell Slide" r:id="rId19" imgW="360" imgH="360" progId="">
                  <p:embed/>
                  <p:pic>
                    <p:nvPicPr>
                      <p:cNvPr id="0" name="Picture 14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userDrawn="1">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userDrawn="1">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userDrawn="1">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userDrawn="1">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userDrawn="1">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82079" name="think-cell Slide" r:id="rId33" imgW="360" imgH="360" progId="">
                  <p:embed/>
                </p:oleObj>
              </mc:Choice>
              <mc:Fallback>
                <p:oleObj name="think-cell Slide" r:id="rId33" imgW="360" imgH="360" progId="">
                  <p:embed/>
                  <p:pic>
                    <p:nvPicPr>
                      <p:cNvPr id="0" name="Picture 14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dirty="0">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102" name="think-cell Slide" r:id="rId16" imgW="360" imgH="360" progId="">
                  <p:embed/>
                </p:oleObj>
              </mc:Choice>
              <mc:Fallback>
                <p:oleObj name="think-cell Slide" r:id="rId16" imgW="360" imgH="360" progId="">
                  <p:embed/>
                  <p:pic>
                    <p:nvPicPr>
                      <p:cNvPr id="0" name="Picture 1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userDrawn="1">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userDrawn="1">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userDrawn="1">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userDrawn="1">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userDrawn="1">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83103" name="think-cell Slide" r:id="rId30" imgW="360" imgH="360" progId="">
                  <p:embed/>
                </p:oleObj>
              </mc:Choice>
              <mc:Fallback>
                <p:oleObj name="think-cell Slide" r:id="rId30" imgW="360" imgH="360" progId="">
                  <p:embed/>
                  <p:pic>
                    <p:nvPicPr>
                      <p:cNvPr id="0" name="Picture 14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26" name="think-cell Slide" r:id="rId15" imgW="360" imgH="360" progId="">
                  <p:embed/>
                </p:oleObj>
              </mc:Choice>
              <mc:Fallback>
                <p:oleObj name="think-cell Slide" r:id="rId15" imgW="360" imgH="360" progId="">
                  <p:embed/>
                  <p:pic>
                    <p:nvPicPr>
                      <p:cNvPr id="0" name="Picture 14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userDrawn="1">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userDrawn="1">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userDrawn="1">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userDrawn="1">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userDrawn="1">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userDrawn="1">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27" name="think-cell Slide" r:id="rId29" imgW="360" imgH="360" progId="">
                  <p:embed/>
                </p:oleObj>
              </mc:Choice>
              <mc:Fallback>
                <p:oleObj name="think-cell Slide" r:id="rId29" imgW="360" imgH="360" progId="">
                  <p:embed/>
                  <p:pic>
                    <p:nvPicPr>
                      <p:cNvPr id="0" name="Picture 14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50" name="think-cell Slide" r:id="rId6" imgW="360" imgH="360" progId="">
                  <p:embed/>
                </p:oleObj>
              </mc:Choice>
              <mc:Fallback>
                <p:oleObj name="think-cell Slide" r:id="rId6" imgW="360" imgH="360" progId="">
                  <p:embed/>
                  <p:pic>
                    <p:nvPicPr>
                      <p:cNvPr id="0" name="Picture 1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51" name="think-cell Slide" r:id="rId8" imgW="360" imgH="360" progId="">
                  <p:embed/>
                </p:oleObj>
              </mc:Choice>
              <mc:Fallback>
                <p:oleObj name="think-cell Slide" r:id="rId8" imgW="360" imgH="360" progId="">
                  <p:embed/>
                  <p:pic>
                    <p:nvPicPr>
                      <p:cNvPr id="0" name="Picture 1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6" name="Image 9" descr="shutterstock_80837125.png"/>
          <p:cNvPicPr>
            <a:picLocks noChangeAspect="1"/>
          </p:cNvPicPr>
          <p:nvPr userDrawn="1"/>
        </p:nvPicPr>
        <p:blipFill>
          <a:blip r:embed="rId9" cstate="print"/>
          <a:srcRect/>
          <a:stretch>
            <a:fillRect/>
          </a:stretch>
        </p:blipFill>
        <p:spPr bwMode="auto">
          <a:xfrm>
            <a:off x="973138" y="971550"/>
            <a:ext cx="7199312" cy="4797425"/>
          </a:xfrm>
          <a:prstGeom prst="rect">
            <a:avLst/>
          </a:prstGeom>
          <a:noFill/>
          <a:ln w="9525">
            <a:noFill/>
            <a:miter lim="800000"/>
            <a:headEnd/>
            <a:tailEnd/>
          </a:ln>
        </p:spPr>
      </p:pic>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86"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ACAF18A-72F2-4EDE-AAB8-EA8835529B4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a:t>
            </a:r>
            <a:r>
              <a:rPr lang="en-US" altLang="en-US" sz="700" dirty="0" err="1">
                <a:solidFill>
                  <a:schemeClr val="tx2"/>
                </a:solidFill>
                <a:latin typeface="+mj-lt"/>
                <a:cs typeface="Helvetica Light"/>
              </a:rPr>
              <a:t>Capgemini</a:t>
            </a:r>
            <a:r>
              <a:rPr lang="en-US" altLang="en-US" sz="700" dirty="0">
                <a:solidFill>
                  <a:schemeClr val="tx2"/>
                </a:solidFill>
                <a:latin typeface="+mj-lt"/>
                <a:cs typeface="Helvetica Light"/>
              </a:rPr>
              <a:t> </a:t>
            </a:r>
            <a:r>
              <a:rPr lang="en-US" altLang="en-US" sz="700" dirty="0" smtClean="0">
                <a:solidFill>
                  <a:schemeClr val="tx2"/>
                </a:solidFill>
                <a:latin typeface="+mj-lt"/>
                <a:cs typeface="Helvetica Light"/>
              </a:rPr>
              <a:t>2016.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7" descr="test3.jpg"/>
          <p:cNvPicPr>
            <a:picLocks noChangeAspect="1"/>
          </p:cNvPicPr>
          <p:nvPr userDrawn="1"/>
        </p:nvPicPr>
        <p:blipFill>
          <a:blip r:embed="rId14" cstate="print"/>
          <a:srcRect/>
          <a:stretch>
            <a:fillRect/>
          </a:stretch>
        </p:blipFill>
        <p:spPr bwMode="auto">
          <a:xfrm>
            <a:off x="0" y="0"/>
            <a:ext cx="9906000" cy="6353175"/>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87" name="think-cell Slide" r:id="rId15" imgW="360" imgH="360" progId="">
                  <p:embed/>
                </p:oleObj>
              </mc:Choice>
              <mc:Fallback>
                <p:oleObj name="think-cell Slide" r:id="rId15"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userDrawn="1">
            <p:custDataLst>
              <p:tags r:id="rId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lvl1pPr>
              <a:defRPr sz="2400">
                <a:solidFill>
                  <a:schemeClr val="tx1"/>
                </a:solidFill>
              </a:defRPr>
            </a:lvl1pPr>
          </a:lstStyle>
          <a:p>
            <a:pPr lvl="0"/>
            <a:r>
              <a:rPr lang="en-US" noProof="0" smtClean="0"/>
              <a:t>Click to edit Master text styles</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910"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BA64095-1948-42E7-AD68-22DBE1F361F5}"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4911"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934"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FC7B43-047B-4EE0-9150-912360F5ED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5935"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958"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C5EA1C3-166B-4ACE-AA08-296E5A658B4F}"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959"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982"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775626B-BE5A-4B5D-806B-6C101D382B6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3"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5"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983"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700"/>
            </a:lvl2pPr>
            <a:lvl3pPr>
              <a:defRPr sz="15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700"/>
            </a:lvl2pPr>
            <a:lvl3pPr>
              <a:defRPr sz="15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a:solidFill>
            <a:schemeClr val="accent1"/>
          </a:solidFill>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a:solidFill>
            <a:schemeClr val="accent1"/>
          </a:solidFill>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006"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380C604-B6DE-43A1-A7BC-5B839A5C38A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007" name="think-cell Slide" r:id="rId13" imgW="360" imgH="360" progId="">
                  <p:embed/>
                </p:oleObj>
              </mc:Choice>
              <mc:Fallback>
                <p:oleObj name="think-cell Slide" r:id="rId13" imgW="360" imgH="360" progId="">
                  <p:embed/>
                  <p:pic>
                    <p:nvPicPr>
                      <p:cNvPr id="0" name="Picture 14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79952"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76"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8957DEE-722A-4D63-A1D9-623B8843411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a:t>
            </a:r>
            <a:r>
              <a:rPr lang="en-US" altLang="en-US" sz="700" dirty="0" err="1">
                <a:solidFill>
                  <a:schemeClr val="tx2"/>
                </a:solidFill>
                <a:latin typeface="+mj-lt"/>
                <a:cs typeface="Helvetica Light"/>
              </a:rPr>
              <a:t>Capgemini</a:t>
            </a:r>
            <a:r>
              <a:rPr lang="en-US" altLang="en-US" sz="700" dirty="0">
                <a:solidFill>
                  <a:schemeClr val="tx2"/>
                </a:solidFill>
                <a:latin typeface="+mj-lt"/>
                <a:cs typeface="Helvetica Light"/>
              </a:rPr>
              <a:t> </a:t>
            </a:r>
            <a:r>
              <a:rPr lang="en-US" altLang="en-US" sz="700" dirty="0" smtClean="0">
                <a:solidFill>
                  <a:schemeClr val="tx2"/>
                </a:solidFill>
                <a:latin typeface="+mj-lt"/>
                <a:cs typeface="Helvetica Light"/>
              </a:rPr>
              <a:t>2016. </a:t>
            </a:r>
            <a:r>
              <a:rPr lang="en-US" altLang="en-US" sz="700" dirty="0">
                <a:solidFill>
                  <a:schemeClr val="tx2"/>
                </a:solidFill>
                <a:latin typeface="+mj-lt"/>
                <a:cs typeface="Helvetica Light"/>
              </a:rPr>
              <a:t>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1"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AutoShape 2"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11" name="AutoShape 4" descr="data:image/jpg;base64,/9j/4AAQSkZJRgABAQAAAQABAAD/2wBDAAkGBwgHBgkIBwgKCgkLDRYPDQwMDRsUFRAWIB0iIiAdHx8kKDQsJCYxJx8fLT0tMTU3Ojo6Iys/RD84QzQ5Ojf/2wBDAQoKCg0MDRoPDxo3JR8lNzc3Nzc3Nzc3Nzc3Nzc3Nzc3Nzc3Nzc3Nzc3Nzc3Nzc3Nzc3Nzc3Nzc3Nzc3Nzc3Nzf/wAARCABNAVADASIAAhEBAxEB/8QAGwAAAgIDAQAAAAAAAAAAAAAABQYABAEDBwL/xABQEAABAwMCAgQKBQgGBgsAAAABAgMEAAURBiESMQcTQVEUFiJTYXGBkZTSIzKhsbIzNkJSYnJ0wRUkNDVD0XWCksLh4jdERVRjc4Sis/Dx/8QAGgEAAwEBAQEAAAAAAAAAAAAAAAIDAQQFBv/EACsRAAICAQMEAQQBBQEAAAAAAAECAAMRBBIhEzFBUSIyUmFxgQUzkaHR8f/aAAwDAQACEQMRAD8A7jUrBOKoyrvDirKHXgXB/hoBUr3D+daAT2isyqMky+axQRy/rVnwe3vKH6zpCB/M/ZQ+TeLosHhMeOP2UlR+3/KnFLGRbUoO3MPXO4R7dGXIkrwlI2A5qPcB2mka1apfj312RcFERZRwpPMM4+qR6ANj760z1uPudZJeW8sclLOcersHsoRLSFCu6nTptIbzPH1mss3Bk4A/3+519t1DjaXG1pUhQyFA5BHrrYNhXGLfebnaDwwZS0N+bUOJHuP8qPxOkOa2AJkFl4d7aig/bkVF9FYO3InTT/WKHHz4M6TUpQhdIVpewJLciMo9qkcSfeP8qY4FzhXFvjhSWnwOfArJHrHZXM9Tp9Qno16iq36GBlysGpnavDzqGW1OuqCUISVKUewDmaSWg3UF/t1gh+E3J7gBOEISMrcPckdtALVftS6jQJFqt0S3wSfIfnqUtTg7whOPvx6TXPGnnde68YEkq8FccPCjP1GE749BIG/pNd1aaQy2ltpKUISAEpSMBIHICuixBUADyTOat2uJI4Ai5Jb1iw2Vx5VllqH+EqM6zxegK41fdQK09Ic1y/sWS7WQxpbjwaVwvfUz24I399dCIpL1fakDVOmru2jy0zRHdIHNJSopJ9RB/wBqlRlJwwjOrDBUx0TWa8prOajLzNSsZqZozCZqVKxRCZqVjNTNEJmpWM1M0QmalYBqZNEJmpWMmpRCZqVjNTiohM1KxmoDmiElYyPRWaRukC23qbLjKtqH3YyUYU2y5wkLzzIyM7U9aB2wTiRvtNSFwM/qPAPdXqhGmGZsayRWbmoqlJSQrKskbnAJ7wMUVBpW4JEdG3KG7ZnqpWM1M1keQ1rdP0S8fqmhWrY8+VY5DVrUoSVYxwq4SU5GQD34oDoS3XqCmcbol5thbfkNvOcR4t8kbnFUWsGsvn+JzteVuFe04PmF5c9U2e5DZdU2wyeF5aTgrV+qD2Adv/CvJVHjJKWG0J7cgUs2KYooeLh8tTqyrPPJUc/fV16UcneurpbTicK6kOu8+ZckS80OkSCrO9V3ZGe2qbsjHbVVrkLL8+Z7eXkUOfOc16ek9mapqdya6UQieZfcDxNTvOqywO6tzismtKzVx2nnE88TSob17jSX4jyH4zq2nUfVWhWCK8KNeTQRnvKqxHInW9FakN8jLZlcImMAceNgtPYoD7/+NbtfyFRtG3ZxP1jHKAf3iE/zpE6OXFp1OylJOFtOBQ9HOnzX0dUrR12aQMq8HKwP3cK/lXj3Viu8Adp9Xor2u0uW78ic26F2Uq1PKc81EVj2qSP5V2quK9DDoRqeS352Irh9ik/512qs1n90y2i/siYNYIGN8V6rTIkMsJCn3ENpKkoBUrAKicAesmuWdUSNf65c09IRbrc025NWgOKW5ngbScgbDmdjRhqz312OlbuqJAeUM/RRGQ2D6AUk49tD9Zaf0u9MbvGoZCo6gAgjreEOgchjGTz7KvxNWMzWwq1Wm6zGMeQ63HDaFeorKdqucbF2D9yAzvO8/qA7XrK427VB07qUMLWpYQzLZQUBRUMpynfY8vQffXvXV81BpaKzKbnxJCX3yhKFQ+HgGCRvx7+6kfXkl+Rrxh52I7Dc+g+jdUkq2I3ykkfbTd02/wByW7+KP4TVxUodOO/eQNjFH57doV07f7tqC1Q0RVsty1tdbLlFvKGQVEJSlGd1EDO5wBueYqaiZ1NZbe7crdelTgwON6NKjN4UgcykoCTtzx9te+iqKmPo2K4B5Uha3VHv8rA+xIpskNpejuNOAFC0lKge0GudyEsIA4zOhQWrBJ5xAGjNVR9UwFPNpLMlkhLzOc8OeRB7QcGql91Q8i7t2WytodmrUErcc3S2eeMduBue701zvokkuRtYJjhXkPsONqHfw+UPu+00f0+FI6RVplflPCHuffhRGPZXQaFV29AZnDbqXKIBwScExzeiX5iMp5i7JkSEpyWnIyQhZ7hjce80F07qG+X7rUMv25p5r6zTjS8479jvTwTXLtBpWrWb6mfyYS9xEcuHi2+3FTqwyMSBkR9QWrurVScHvzGrUuqjZyzDYaTJuLgT5AOEpJ2GfWeQq0xBv7scOSbyGZBGerajIKEnuOdz7xXP4cxMrXAmSesUjwpS8IQVqwnPDhIBPYmujjUMLH5Kd8C98tbbWawoUc94unvF5ZnbjOAM4gi16nlNXpVkvqG0SeLhbfa2SvO4yOzPZ7q2arul3sUTwtuRGdQt4IQ2Y5BSCCd1cW/LupW1wH7jemplshzFJSykFfgziSFBRIO4z3Ud6RFrc0tCccTwrU82pScciUHIphUu5Pz3En17OnaMn49jL1pv0652+E2wloz5CFOOOFP0bKAsp4iOZJ5AZ33rxqFd9s8FVxj3ISUNEF1l2OkDh5ZGN+3v9taujRgiyLkrOVuOcA9CE8h7yo+2jWrN9M3QEf8AVl/dUmwtu0DjM6E3Ppt5JziUbdqdNxtLD8RjimvudSmOVbBYGSSf1QN893prdOh38RVvRrskyUpyGhGSG1Hu3yfbmlXosY6ybOfJOGUBKQeQKjuR7E10hXKi5RXYVWbpWbUUB3P+OP5ipozVK74HY0xKUTGk8WUbBaeWcdhBx76q6qvd706mNxSIj/XlW/gxRw4x+2c86AdH/k6vcA2BbeGB3ZFFelf6ls9bn+7V+kovC44M5OvY2iNm75DjP8xkivXOdaIc5iVHZU5HDjiVxysEkZ28oYpf01rOXNTMduKGylptBbbYQQpa1HASMntOKZNP/mtB/hE/hrnfRwyZF9QhR+iab64p7ykYT+M0iIpV8jtKXW2LZTtP1d50BUS+yWS4q5IiPEZDTTKVpSe4k7n1jFB9L6qlybs5Z7whAlJUpKXEDAKk5ykj7Qac65Xnh6Tdtv692elNJSosVgR4ldUzUtWVPc4MedQv3K3wpU+LJj9Sw1xhlyOSSR+1xD7qoaNv0y+RJ65oaBaICerTjmD6fRRLWH5r3P8Ah1Us9F/9guv7yfwmhVBoLHuJruy6xEB4IMoaihu2K8uO8JMOUsrbWOQUeafXnPs9VaVSkuJyFZrpkyGxOjKjy2kutLGFJUMik+doAcSlWycpoHcNvJ4gPaN/fmrVahCoD95yajRXIxNQyD49RZdf9NU3XSc4+2mQaHu6l/SSYYT3gqJ+4Vb8W7VYWPDLzIVKWPqMgcIUrsAGcn2nFdHXqXtyZwNpNS/1DaPzE4sPKbQ4W1BteeBR/SxjOPfVdw8JwTTFcJK5SnJUgJSpQwhtPJtI5JHq++lh9eVE95roqYsOZwaioIQAcz28hbTbbjiCG3AShfYcHBxVdSqM6bu0aKVwLu0H7bIUCtKhnq1frD+eKYZXR+xKQJFnuQLTgylLg4gR6FD/ACNI2oFbYfj8y9eiNqbqufY8xBJ3rBpzb6ObopWFSoaU94KifdgffTDZ9AQITiXZzipridwlSeFAPq7faaV9ZUo4OZar+l6hzgrj9yh0aWV1nrLtISUh1HAwDzKeZV7dsf8A5T26hDjam3EhSFAhQPIg8xXoJ4QABgAVmvJtsNjbjPpdPQtFYrE4QY72gNdx1vBRiIdJQvH12FbHHeQDv6R6RXdGXUPNpcaWlbawFJUk5CgeRoffrFAv0MxblHDqOaFDZSD3pPYaX7XpvUOnEeD2S6xpcEElEa4NqBb9CVp5e7FUscWgE8GLXW1RIAyI5k0ka/urTdxsFoCwXn7lHeWnuQlwYz61Y9xom6nWMhJQn+hYhO3WhTrxHqSQkfbQWL0bqVd27vdb3JmTUPIeKg2lIUUqBA3zgbY27KWsKpyxjWF2GFETrs4q/wDSkiJccrjInCOlCjsEIPL24PvrtqUJSgBIACRgAcgKSNV6BXc7qi9WaYiFckqStXGnKFrTjCttwdh35x7zDDOqJDIYmu22JkYXIi8biz6UpUAEn0nix3GnudXVdp7CLSjIzbh3M5X0gyEyekIqR9RDjLYPfwkAke3I9hpt6bf7kt/8UfwGtmoOjd24XhmZAmsxmWW20IaW2pZ8jtJ4hnJ/nQ/paTckWGF/Sr0V1wzPIMZpSABwHnxKNWV1ZqwviQdGVLC3mH+iaaH9KNRlbOxlqSUn9VRKkn1EEj2GnCW8iPGdedOENoK1H0AZNI+ibW+7pS0XG2SExpyGVNqK0cTbyONR4FjIOxyQRuMnsJBvXq16qvkNdveftkCI75LzkdTjrik9oGQkDNc9gBtPPmdFZIqAxniIXQ/BdlamXO4T1cVhRUf2l7Ae7iPsp11JEYm6ljItK1N3tvDinBjgSkdq+842wOw77UwadsMLTltESEnyc8bjij5Tiu0n/wC7Uk3W3Tb1fZN20wtxaUFKS8F9XlYGDwHO4wB7+2rCwWWls4GMf+zjvQ1UhcZJOeO/8RtkNalkx1R+stscrBSp9tS1KA7wkgYPtNbtN6eiWCMpDBU68vHWPKG6v8h6KSgrXkcZ/rigP/LXW+Fq6+WuW01qCIvqHDgrWz1ah6QRsfVWGl9pCkEfiKuqpDhrFYH2fEFobVYteI67yEJlEgntQvIB9yvvrrQ5UG1Bp2Ff2UiRxIeSPIeRzA7j3itMONqSCymP18CYlAwl14rQvHZkAEH10lri0A+RLaep9OzLjKk5GIWuU1m3xFyHgopSQAhAypRJAAA7SSaWOk7Pi+zn/vKfwqo3HtUl2U3Lu0hD7jW7TLSOFptX62CSVKxtk+wCqGotP3K+smO9Pitx0u9Y2ExlcQxkDJ48Hn3UlRVXBz2j6lbLKWUL37TPR7+asX95z8Zq9qw50zc/4Zf3VW0/ZrnZ47MMzYrsVsqJAjqCzkk8+PHM91Wb3b7lcWH4rEqK1FfaLa0rYUpW4wcEKH3UMQbd2eMzUVxptm3nGPHqK3RSPIuZ/abH2Kp+OcUqWDS9zsIeES4xVpeKSvrIyjyzywsd9MM5qetKPAHo7Ss+UXmivI9GFDFbqGV7SyngzNGr1acIy8ic20D+eC/3HvvFFOlf6ls9bn+7Vy06Mn2q5KnxrlGLqgoELjKI35/p1vv2lrpfksCbcYiQzxcPVxlDnjPNZ7q6DanWV88AThGnuGkarbyT+P8AsLaf/NWF/CJ/DSL0Wf3xI9EX/eTTnEtd7iQWobVwgFttsNpKoiycAY/XoVYdG3CxSVPw7lGUpTfVkORlEYyD2LHdU1dQjjPeXeuw2VMFOF79vX7jniuVq/6Tf/XD7hXSX2p5ipTHeYRJGOJa2ipB78JCgR76V/Ey4G+f0ublG8J63rceDK4c4xy4+VLp2VA249xKa2t7Nm1c4IMNav8AzYuf8Oqlnov/ALBdf30/hNMFxtV7uEF+G/cIAaeSUK4YiwcHu+kqhZNMXOwR5CIlxiKS75S+sjKPIHl5e1CsopZM8mY6O2qS0KcAfj/scKlBTqe1JUUl57IOD/VnflrHjRavOvfDO/LUNjep29Wv2IRntynY6kQpCGHSdlqb48D1ZFKrujJciQZMq8de9+utjOPQPK29Qoz40WkZ+le+Fd+Wp40Wrzz3wrvy06NYn0iQtXT2/Wc/zAj2h5DycKuqQO4Rv+aqiujhR/7VHw3/ADUzeNFq8698K78tTxotXnnvhnflqov1A4BM5zo9ETk4/wAxWPRoo87qPh/+aiVp0lc7MrMG/cKDuW1RuJB9nF91F/Gi1eee+Fd+Ws+NFq8698K78tY117DDcx002krOV4P7hZoKCUhZBUBuQMAmtlBPGi1ede+Fd+Wp40WrH5Z74V35ahsb1Ozq1+4bqUF8aLV5574V35ax402rsee+Gd+WjY3qHWr9w3UoJ40Wrb6V74V35az40Wrzz3wzvy0bG9Q61f3CGqlBfGi1eee+Gd+WseNNq8898M78tGxvUOtX9whupQTxotWcda98M78tTxotXnnvhXflo2N6h1q/uEN1zbptObLbv4o/gNNx1Raj/jPfCu/LS1coWlbr/eEy8SEcZWlDq5KkpJ7gRgVWnKOGI7SVzq6FQRzC/RqR4k2sfsK/Gqmiki1p05aiwIc+8IbZOUMFySW/UUYwRvyo6NUWrzz3wrvy0lilmJAjV2IFAJEuXmO7KtUxhg4dcZWhBz2kGlvo8uLCbYbW8QzNjOLC2l7KOTnOPbijPjPavOvfCu/LQ+fO0xcVBU1guuDktUN0K94TmmXO0qRJWYNgsVhkeDGbNK+rAze20WWJwvyVupU6UnIjoB3Uo9hxsBzOa0A6UAAKZSk/qrRJI9xojEvlhhtBqIkstj9FuG4kfhrAu05AmuwsXaxAB/MPoASkJ7hivYoJ4z2rb6V7fl/VXflqeNFq8898M78tJsb1LdWseYbqUE8aLV5574V35anjRavPPfCu/LRsb1N61fsQ3UoL40Wrzr3wzvy1PGi1eee+Gd+WjY3qZ1q/uENVKC+NFq8898M78tY8abV5574Z35aNjeodav7hDdSgnjRavPPfDO/LU8aLT5574V35aNjepvWr9w3UoJ402of4z3wrvy1PGi1eee+Gd+WjY3qZ1q/uEN1KCDVFqP8AjPfCu/LU8abTz6574V35aNjepvWr9iG68P8A5Fz90/dQjxotXnXvhXflry5qa1rbUkPPZUkgf1Z35aNjeodVPczYbhNuzaZ5RHbt7wUWE5UXSnOEqJ5b88Y2yN6q3C9zm13R6EwwuLavy/WKUFukIC1BGNhhJG5zk91D9KXRcO8uaT6pK2oSFluQTglGxSkjvAVjOd8chVLUs1y2XiXZWAkov/CetPOOpQDSjj9LYAjlg99U2/IiJu+IMaL7dnoVmbnW5hMlx1xlLTalcPHxqAG/fvUg3tufcIzUYJVHfhGSlZJCgeMJwR2c9/SK139lLFrt7CPqNToaU57g6gVTgwUxNcyA0v6F2CXg1jZClOjix6CU5x3k99KACIxJzLrN1kytQSoDXgrbcRSAtt0q61wKSFcaQNgnfHbkg8qtSrg4xe4EAISUSmnlqWScpKOHGP8AapVut1Fy11EsvgrbTsKQl5MwHKykI4igdwVnB3Ix2UQ1zOVY1W6+IQHjGWtlTJOONLgAznsIKR2Gt28j8w3Yz+IXttycmWyTLW2lK2XpDYSCcENrUkH28NbbTMeuNiiTghtD0iMl3h3KUqUnOO/GaHWBso0p1i1BS5KHZKsDABdKlkD0Dix7Ko9HF7Vc7MiIWA34Cy00F8eePyeeMbcqwrwSPEFbkA+YV07Pn3BMtc1MZKWJDjADPFklCiCTnsNb7JcHLiJ3WNpR4NNdjp4STkJIwT6d6q6UGGLn/pOT+OvOkxgXf03WR94oIHM0eJUt2qXZdoEhyO21LD7CFNcRILbriUpWD6if9ZJHZRW83F2G7DiRG0OS5i1Ib6xRCEBKSpSlY3wAOQ5kjlSm7DT4tabmtq4HUuxmXNs9Y2XknhPqUkEH195o/rIqhxI96awXbaoudWobOoUOFST3cwQewgbGmKjPH5ignELWx516KFPvRnl8RBXFJ4PtJ39tb5IeLK/Bi2HseR1meHPpxvSz0eyUzrXNmoZSwmTOcWGk8kbJGM4GeXd20Y03cXLvZYk95CULfRxFKeQ3I/lU2BBjqciatMT5l0tiJk1LCOsKghLPFsASk5z6q06au0q7IU88uElGXAGWlEuJ4VlI4snuH2is6JGNMwx6XP8A5FUA6Pbq07LkWtMJtDjPXLVJGOJz6Y7Hb9rv7Kcr9RHiLu5UHzGJm4TZ13lMQUMJiQnUtPOO8RU4ogKUEgbDAI3PM1suF2TBvMCE6WkMyWnlqdcXw8JRwYAztvxH3UBl3ZendXJgtNB5m8vNu7nhLKzwtqPbxAgA423z7CV2jsydWWdMhpt1Hgso8LiQoc2uw1hXmGeP5lq1XZU+0yJ3A39G6+hIQrKVBtakg59PDQ626odmW2A8uM23JelMsSGuIngDg4gpPeCkpI9Z7q2abQlGm7ghACUiTMAAGAB1i9gKEOQUpi6RmtK4FKMRl5ONnEhHEk+gpOcehRpiBkiZk4BjLdZ8hqfDt0BtoyZKFuFb2eFtCMZJA3JypIAz21sslxXcYjynm0tyI7y2HkJUSkLScHB7iMEeug+tJpsioWoG0B1UfijrZJx1iHOE8+wgoSeR7RV3SKCbGJiyC7PcVLcwMAFe+B6hgeylwNuZufliXdPT13Wxwbg62ltcllLikJOQCRyFCW9Qy1stXIsMC1uy/Bh5SutSC4Ww4TywVY27jz7Ko9GV6M60pt3UBAt7DaOs489ZzGcY25emhzElZviNGEDwaPL8J6/9JSArrg3j14HF3DlTBMMQYpfgGOF5uL0R6HEhttrly1KCC6SEISlOVKVjcgbDHaSK3wnZD1vUsuxHpHlcK2CerJ7O0nuzQnWazAjx722Ap23KUerUNnULASpPo7Dnfccq8dHzyZdoky0NJZTImuuBpOMIzgY7O6l2/DdGz88SzZL65dn2m244R1bHFNBO7L3Fw9WPTlKyfRwntozJfRFjOyHjhtpBWs+gDJoPptATNv2APKuas7f+C1W21Sf6esr6pLaWw64/HUlH6qVqR78CsYczVPEqwL1PU9bFz47CI9zB6kNrJUyrgK0pXnY5SDuMYI7edEFXBwahRbOBPVmGqRx5OchYTj1b0p6YnO3e8xbW+EpTYAr6RI/tCgC0lWP0cAk43yT2Vb1vdV6bukG8NNJfLrDkQtKPDjcLCs/6uMY7eYpyny2xd3xzD1qnSrpYI05lLLcl9oLCV5KAc++vGmrjMudmbuExDKS8CpCGOLYAkYOe3at+nongFjgxePrOqZSkqxjJ7Tjsqjow9XpGCcZ4WlH/ANyqUgYOPcYE8fqbdM3STeIgmuKiBlwZS00VFbR7UrJ/SHbsMGtE+8z0u3NcCOw4xawOuDilcTquALKU42GEkbnOSaD6HuSdQXy4XVEVuGUMpYcbbOeuVkq41HbJGMDbtO9adT3B20XqVa44SRfkp+kUP7OsgNFWP0tgDjbem2fIiJv+OY03W7+DWdi4xUpdS87HSkKJHkuuITn14VmtzE5bl5mweBIRHZacSvO5KyvIP+yPfVDUkJLWlHWGFcAhNtOt8QznqSlYB5c+AD21T0PcFX0z74tsMl8ojhkHPCG8757SSs9gpdo2kxs/ICbFahmIkvL6qOYrdzTA6sFXWKKikcYPI44skY5A70SvFxfjyYUGE22qXMK+Euk8DaEDKlHG55gY7zSq00mDdZV4aCS8L2qKtKk/XbcCBz7CknIPdkdtGdavm1NRb80At2AopLR2DiHMJUM9hyEnO/LlvWlRkCYGOCYRvM+TarA/NcQy5JZbBUlOQgnIHrxvXnUt0kWiIw9FjeEuOSEtFriwSk5J4f2sDYUMvM83bo+cnqbDRkxkuFAOeHKhtmiGpRlVo/0k19yqxQOMzWPfE2wbuibcyxHKFxlQmpTboO6uNSgPZhINUpF3lSJM1uIqExGiOBhbstZHWOcIUUpwRjAI33yc7bVpskJMDWF0ZaX9AYrbjbePyfEtxRSPRxcRHdnFLmu5Is5uNt6pD7N4+nSVDBjuEBCiOec8IPZjffemCAtgRS2FyZ//2Q=="/>
          <p:cNvSpPr>
            <a:spLocks noChangeAspect="1" noChangeArrowheads="1"/>
          </p:cNvSpPr>
          <p:nvPr userDrawn="1"/>
        </p:nvSpPr>
        <p:spPr bwMode="auto">
          <a:xfrm>
            <a:off x="84138" y="-268288"/>
            <a:ext cx="2611437" cy="552451"/>
          </a:xfrm>
          <a:prstGeom prst="rect">
            <a:avLst/>
          </a:prstGeom>
          <a:noFill/>
        </p:spPr>
        <p:txBody>
          <a:bodyPr/>
          <a:lstStyle/>
          <a:p>
            <a:pPr defTabSz="957756" fontAlgn="auto">
              <a:spcBef>
                <a:spcPts val="0"/>
              </a:spcBef>
              <a:spcAft>
                <a:spcPts val="0"/>
              </a:spcAft>
              <a:defRPr/>
            </a:pPr>
            <a:endParaRPr lang="en-US" dirty="0">
              <a:latin typeface="+mn-lt"/>
              <a:cs typeface="+mn-cs"/>
            </a:endParaRPr>
          </a:p>
        </p:txBody>
      </p:sp>
      <p:sp>
        <p:nvSpPr>
          <p:cNvPr id="2" name="Title 1"/>
          <p:cNvSpPr>
            <a:spLocks noGrp="1"/>
          </p:cNvSpPr>
          <p:nvPr>
            <p:ph type="title"/>
          </p:nvPr>
        </p:nvSpPr>
        <p:spPr>
          <a:xfrm>
            <a:off x="495300" y="274638"/>
            <a:ext cx="8915400" cy="778098"/>
          </a:xfrm>
        </p:spPr>
        <p:txBody>
          <a:bodyPr>
            <a:normAutofit/>
          </a:bodyPr>
          <a:lstStyle>
            <a:lvl1pPr algn="l">
              <a:defRPr sz="3600">
                <a:solidFill>
                  <a:schemeClr val="tx2">
                    <a:lumMod val="50000"/>
                  </a:schemeClr>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Date Placeholder 12"/>
          <p:cNvSpPr>
            <a:spLocks noGrp="1"/>
          </p:cNvSpPr>
          <p:nvPr>
            <p:ph type="dt" sz="half" idx="10"/>
          </p:nvPr>
        </p:nvSpPr>
        <p:spPr>
          <a:xfrm>
            <a:off x="495300" y="6356350"/>
            <a:ext cx="23114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11/15/2013</a:t>
            </a:r>
          </a:p>
        </p:txBody>
      </p:sp>
      <p:sp>
        <p:nvSpPr>
          <p:cNvPr id="13" name="Footer Placeholder 14"/>
          <p:cNvSpPr>
            <a:spLocks noGrp="1"/>
          </p:cNvSpPr>
          <p:nvPr>
            <p:ph type="ftr" sz="quarter" idx="11"/>
          </p:nvPr>
        </p:nvSpPr>
        <p:spPr>
          <a:xfrm>
            <a:off x="3384550" y="6356350"/>
            <a:ext cx="3136900" cy="365125"/>
          </a:xfrm>
          <a:prstGeom prst="rect">
            <a:avLst/>
          </a:prstGeom>
        </p:spPr>
        <p:txBody>
          <a:bodyPr/>
          <a:lstStyle>
            <a:lvl1pPr defTabSz="957756" fontAlgn="auto">
              <a:spcBef>
                <a:spcPts val="0"/>
              </a:spcBef>
              <a:spcAft>
                <a:spcPts val="0"/>
              </a:spcAft>
              <a:defRPr>
                <a:latin typeface="+mn-lt"/>
                <a:cs typeface="+mn-cs"/>
              </a:defRPr>
            </a:lvl1pPr>
          </a:lstStyle>
          <a:p>
            <a:pPr>
              <a:defRPr/>
            </a:pPr>
            <a:r>
              <a:rPr lang="en-US" dirty="0"/>
              <a:t>PIE - Process Excellence Team </a:t>
            </a:r>
          </a:p>
        </p:txBody>
      </p:sp>
    </p:spTree>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oleObject" Target="../embeddings/oleObject17.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7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image" Target="../media/image9.png"/><Relationship Id="rId5" Type="http://schemas.openxmlformats.org/officeDocument/2006/relationships/vmlDrawing" Target="../drawings/vmlDrawing11.vml"/><Relationship Id="rId15" Type="http://schemas.openxmlformats.org/officeDocument/2006/relationships/tags" Target="../tags/tag74.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69.xml"/><Relationship Id="rId19" Type="http://schemas.openxmlformats.org/officeDocument/2006/relationships/image" Target="../media/image7.png"/><Relationship Id="rId4" Type="http://schemas.openxmlformats.org/officeDocument/2006/relationships/theme" Target="../theme/theme2.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5.vml"/><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tags" Target="../tags/tag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4" name="think-cell Slide" r:id="rId20" imgW="360" imgH="360" progId="">
                  <p:embed/>
                </p:oleObj>
              </mc:Choice>
              <mc:Fallback>
                <p:oleObj name="think-cell Slide" r:id="rId20" imgW="360" imgH="360" progId="">
                  <p:embed/>
                  <p:pic>
                    <p:nvPicPr>
                      <p:cNvPr id="0" name="Picture 7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3"/>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en-US" smtClean="0"/>
              <a:t>Click to edit Master title style</a:t>
            </a:r>
          </a:p>
        </p:txBody>
      </p:sp>
      <p:sp>
        <p:nvSpPr>
          <p:cNvPr id="1029" name="Text Placeholder 2"/>
          <p:cNvSpPr>
            <a:spLocks noGrp="1"/>
          </p:cNvSpPr>
          <p:nvPr>
            <p:ph type="body" idx="1"/>
            <p:custDataLst>
              <p:tags r:id="rId14"/>
            </p:custDataLst>
          </p:nvPr>
        </p:nvSpPr>
        <p:spPr bwMode="auto">
          <a:xfrm>
            <a:off x="323850" y="1501775"/>
            <a:ext cx="9582150" cy="4637088"/>
          </a:xfrm>
          <a:prstGeom prst="rect">
            <a:avLst/>
          </a:prstGeom>
          <a:noFill/>
          <a:ln w="9525">
            <a:noFill/>
            <a:miter lim="800000"/>
            <a:headEnd/>
            <a:tailEnd/>
          </a:ln>
        </p:spPr>
        <p:txBody>
          <a:bodyPr vert="horz" wrap="square" lIns="0" tIns="33059" rIns="33059" bIns="33059"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5"/>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C2732EC-2A07-4D3B-83C4-B36616B2CD7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6"/>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7"/>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pic>
        <p:nvPicPr>
          <p:cNvPr id="1033" name="Picture 103" descr="C:\Users\UserSim\Desktop\Capgemini\Capgemini_logo_cmyk.png"/>
          <p:cNvPicPr>
            <a:picLocks noChangeAspect="1" noChangeArrowheads="1"/>
          </p:cNvPicPr>
          <p:nvPr>
            <p:custDataLst>
              <p:tags r:id="rId18"/>
            </p:custDataLst>
          </p:nvPr>
        </p:nvPicPr>
        <p:blipFill>
          <a:blip r:embed="rId22"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spcBef>
          <a:spcPct val="0"/>
        </a:spcBef>
        <a:spcAft>
          <a:spcPct val="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spcBef>
          <a:spcPct val="0"/>
        </a:spcBef>
        <a:spcAft>
          <a:spcPct val="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spcBef>
          <a:spcPct val="0"/>
        </a:spcBef>
        <a:spcAft>
          <a:spcPct val="0"/>
        </a:spcAft>
        <a:buClr>
          <a:schemeClr val="accent2"/>
        </a:buClr>
        <a:buFont typeface="Arial" pitchFamily="34" charset="0"/>
        <a:buChar char="•"/>
        <a:defRPr sz="1700" kern="1200">
          <a:solidFill>
            <a:srgbClr val="4E4641"/>
          </a:solidFill>
          <a:latin typeface="+mn-lt"/>
          <a:ea typeface="+mn-ea"/>
          <a:cs typeface="+mn-cs"/>
        </a:defRPr>
      </a:lvl3pPr>
      <a:lvl4pPr marL="711200" indent="-165100" algn="l" defTabSz="912813" rtl="0" eaLnBrk="0" fontAlgn="base" hangingPunct="0">
        <a:spcBef>
          <a:spcPct val="0"/>
        </a:spcBef>
        <a:spcAft>
          <a:spcPct val="0"/>
        </a:spcAft>
        <a:buClr>
          <a:schemeClr val="bg2"/>
        </a:buClr>
        <a:buFont typeface="Arial" pitchFamily="34" charset="0"/>
        <a:buChar char="–"/>
        <a:defRPr sz="15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44" name="think-cell Slide" r:id="rId17" imgW="360" imgH="360" progId="">
                  <p:embed/>
                </p:oleObj>
              </mc:Choice>
              <mc:Fallback>
                <p:oleObj name="think-cell Slide" r:id="rId17" imgW="360" imgH="360" progId="">
                  <p:embed/>
                  <p:pic>
                    <p:nvPicPr>
                      <p:cNvPr id="0" name="Picture 7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userDrawn="1">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userDrawn="1">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userDrawn="1">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userDrawn="1">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userDrawn="1">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userDrawn="1">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Lst>
  <p:timing>
    <p:tnLst>
      <p:par>
        <p:cTn id="1" dur="indefinite" restart="never" nodeType="tmRoot"/>
      </p:par>
    </p:tnLst>
  </p:timing>
  <p:hf hdr="0" ft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40"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229" r:id="rId1"/>
  </p:sldLayoutIdLst>
  <p:timing>
    <p:tnLst>
      <p:par>
        <p:cTn id="1" dur="indefinite" restart="never" nodeType="tmRoot"/>
      </p:par>
    </p:tnLst>
  </p:timing>
  <p:hf hdr="0" ft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30.jpeg"/><Relationship Id="rId5" Type="http://schemas.openxmlformats.org/officeDocument/2006/relationships/image" Target="../media/image29.gif"/><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png"/><Relationship Id="rId1" Type="http://schemas.openxmlformats.org/officeDocument/2006/relationships/slideLayout" Target="../slideLayouts/slideLayout9.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34.jpe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21.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40.jpeg"/><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hyperlink" Target="http://qa.in.capgemini.com/"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vmlDrawing" Target="../drawings/vmlDrawing18.vml"/><Relationship Id="rId5" Type="http://schemas.openxmlformats.org/officeDocument/2006/relationships/image" Target="../media/image43.w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hyperlink" Target="http://www.google.co.in/url?sa=i&amp;rct=j&amp;q=&amp;esrc=s&amp;source=images&amp;cd=&amp;cad=rja&amp;uact=8&amp;ved=0ahUKEwjr5bjmjabKAhUD1hQKHfmTBMYQjRwIBw&amp;url=http://nobacks.com/red-ribbon-seventeen/&amp;bvm=bv.111396085,d.d24&amp;psig=AFQjCNEBjdU9oOfwO1UxqyCFj-w74lr44w&amp;ust=1452750667718770" TargetMode="External"/><Relationship Id="rId4" Type="http://schemas.openxmlformats.org/officeDocument/2006/relationships/hyperlink" Target="http://groupeval.capgemini.co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49.jpeg"/></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hyperlink" Target="http://km20.capgemini.com/community/616708" TargetMode="External"/><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hyperlink" Target="http://km20.capgemini.com/"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9.xml"/><Relationship Id="rId5" Type="http://schemas.openxmlformats.org/officeDocument/2006/relationships/image" Target="../media/image61.png"/><Relationship Id="rId4" Type="http://schemas.openxmlformats.org/officeDocument/2006/relationships/image" Target="../media/image60.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0.xml"/><Relationship Id="rId1" Type="http://schemas.openxmlformats.org/officeDocument/2006/relationships/slideLayout" Target="../slideLayouts/slideLayout9.xml"/><Relationship Id="rId4" Type="http://schemas.openxmlformats.org/officeDocument/2006/relationships/image" Target="../media/image63.jpeg"/></Relationships>
</file>

<file path=ppt/slides/_rels/slide4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9.xml"/><Relationship Id="rId4" Type="http://schemas.openxmlformats.org/officeDocument/2006/relationships/image" Target="../media/image66.jpeg"/></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vmlDrawing" Target="../drawings/vmlDrawing17.vml"/><Relationship Id="rId5" Type="http://schemas.openxmlformats.org/officeDocument/2006/relationships/image" Target="../media/image15.w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9.xml"/><Relationship Id="rId5" Type="http://schemas.openxmlformats.org/officeDocument/2006/relationships/image" Target="../media/image78.png"/><Relationship Id="rId4" Type="http://schemas.openxmlformats.org/officeDocument/2006/relationships/image" Target="../media/image7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9.xml"/><Relationship Id="rId1" Type="http://schemas.openxmlformats.org/officeDocument/2006/relationships/vmlDrawing" Target="../drawings/vmlDrawing19.vml"/><Relationship Id="rId6" Type="http://schemas.openxmlformats.org/officeDocument/2006/relationships/image" Target="../media/image79.wmf"/><Relationship Id="rId5" Type="http://schemas.openxmlformats.org/officeDocument/2006/relationships/oleObject" Target="../embeddings/Microsoft_Excel_97-2003_Worksheet1.xls"/><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8" Type="http://schemas.openxmlformats.org/officeDocument/2006/relationships/package" Target="../embeddings/Microsoft_Excel_Worksheet2.xlsx"/><Relationship Id="rId3" Type="http://schemas.openxmlformats.org/officeDocument/2006/relationships/notesSlide" Target="../notesSlides/notesSlide56.xml"/><Relationship Id="rId7" Type="http://schemas.openxmlformats.org/officeDocument/2006/relationships/oleObject" Target="../embeddings/oleObject31.bin"/><Relationship Id="rId2" Type="http://schemas.openxmlformats.org/officeDocument/2006/relationships/slideLayout" Target="../slideLayouts/slideLayout9.xml"/><Relationship Id="rId1" Type="http://schemas.openxmlformats.org/officeDocument/2006/relationships/vmlDrawing" Target="../drawings/vmlDrawing20.vml"/><Relationship Id="rId6" Type="http://schemas.openxmlformats.org/officeDocument/2006/relationships/image" Target="../media/image80.wmf"/><Relationship Id="rId5" Type="http://schemas.openxmlformats.org/officeDocument/2006/relationships/package" Target="../embeddings/Microsoft_Excel_Worksheet1.xlsx"/><Relationship Id="rId4" Type="http://schemas.openxmlformats.org/officeDocument/2006/relationships/oleObject" Target="../embeddings/oleObject30.bin"/><Relationship Id="rId9" Type="http://schemas.openxmlformats.org/officeDocument/2006/relationships/image" Target="../media/image81.w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a:xfrm>
            <a:off x="1" y="3716342"/>
            <a:ext cx="5016633" cy="2460625"/>
          </a:xfrm>
          <a:prstGeom prst="rect">
            <a:avLst/>
          </a:prstGeom>
        </p:spPr>
        <p:txBody>
          <a:bodyPr lIns="91419" tIns="45709" rIns="91419" bIns="45709"/>
          <a:lstStyle/>
          <a:p>
            <a:pPr marL="229961" indent="-229961" defTabSz="608720">
              <a:lnSpc>
                <a:spcPct val="150000"/>
              </a:lnSpc>
              <a:spcBef>
                <a:spcPct val="20000"/>
              </a:spcBef>
              <a:buClr>
                <a:srgbClr val="1F497D"/>
              </a:buClr>
              <a:buFont typeface="Arial" pitchFamily="34" charset="0"/>
              <a:buChar char="•"/>
              <a:defRPr/>
            </a:pPr>
            <a:r>
              <a:rPr lang="en-US" dirty="0" smtClean="0">
                <a:solidFill>
                  <a:prstClr val="black"/>
                </a:solidFill>
              </a:rPr>
              <a:t>Created By: QA Team</a:t>
            </a:r>
          </a:p>
          <a:p>
            <a:pPr marL="229961" indent="-229961" defTabSz="608720">
              <a:lnSpc>
                <a:spcPct val="150000"/>
              </a:lnSpc>
              <a:spcBef>
                <a:spcPct val="20000"/>
              </a:spcBef>
              <a:buClr>
                <a:srgbClr val="1F497D"/>
              </a:buClr>
              <a:buFont typeface="Wingdings" pitchFamily="2" charset="2"/>
              <a:buChar char="§"/>
              <a:defRPr/>
            </a:pPr>
            <a:r>
              <a:rPr lang="en-US" dirty="0" smtClean="0">
                <a:solidFill>
                  <a:prstClr val="black"/>
                </a:solidFill>
              </a:rPr>
              <a:t>Approved By: PE Head</a:t>
            </a:r>
          </a:p>
          <a:p>
            <a:pPr marL="229961" indent="-229961" defTabSz="608720">
              <a:lnSpc>
                <a:spcPct val="150000"/>
              </a:lnSpc>
              <a:spcBef>
                <a:spcPct val="20000"/>
              </a:spcBef>
              <a:buClr>
                <a:srgbClr val="1F497D"/>
              </a:buClr>
              <a:buFont typeface="Wingdings" pitchFamily="2" charset="2"/>
              <a:buChar char="§"/>
              <a:defRPr/>
            </a:pPr>
            <a:r>
              <a:rPr lang="en-US" dirty="0" smtClean="0">
                <a:solidFill>
                  <a:prstClr val="black"/>
                </a:solidFill>
              </a:rPr>
              <a:t>Date of Release: August 2016</a:t>
            </a:r>
          </a:p>
          <a:p>
            <a:pPr marL="229961" indent="-229961" defTabSz="608720">
              <a:lnSpc>
                <a:spcPct val="150000"/>
              </a:lnSpc>
              <a:spcBef>
                <a:spcPct val="20000"/>
              </a:spcBef>
              <a:buClr>
                <a:srgbClr val="1F497D"/>
              </a:buClr>
              <a:buFont typeface="Arial" pitchFamily="34" charset="0"/>
              <a:buChar char="•"/>
              <a:defRPr/>
            </a:pPr>
            <a:r>
              <a:rPr lang="en-US" dirty="0" smtClean="0">
                <a:solidFill>
                  <a:prstClr val="black"/>
                </a:solidFill>
              </a:rPr>
              <a:t>Version No: 1.0</a:t>
            </a:r>
          </a:p>
          <a:p>
            <a:pPr marL="229961" indent="-229961" defTabSz="608720">
              <a:lnSpc>
                <a:spcPct val="150000"/>
              </a:lnSpc>
              <a:spcBef>
                <a:spcPct val="20000"/>
              </a:spcBef>
              <a:buClr>
                <a:srgbClr val="1F497D"/>
              </a:buClr>
              <a:buFont typeface="Arial" pitchFamily="34" charset="0"/>
              <a:buChar char="•"/>
              <a:defRPr/>
            </a:pPr>
            <a:r>
              <a:rPr lang="en-US" dirty="0" smtClean="0">
                <a:solidFill>
                  <a:prstClr val="black"/>
                </a:solidFill>
              </a:rPr>
              <a:t>Duration: 4 Hrs</a:t>
            </a:r>
            <a:endParaRPr lang="en-US" dirty="0">
              <a:solidFill>
                <a:prstClr val="black"/>
              </a:solidFill>
            </a:endParaRPr>
          </a:p>
        </p:txBody>
      </p:sp>
      <p:sp>
        <p:nvSpPr>
          <p:cNvPr id="34819" name="Rectangle 5"/>
          <p:cNvSpPr>
            <a:spLocks noChangeArrowheads="1"/>
          </p:cNvSpPr>
          <p:nvPr/>
        </p:nvSpPr>
        <p:spPr bwMode="auto">
          <a:xfrm>
            <a:off x="155467" y="2636913"/>
            <a:ext cx="7176797" cy="430887"/>
          </a:xfrm>
          <a:prstGeom prst="rect">
            <a:avLst/>
          </a:prstGeom>
          <a:noFill/>
          <a:ln w="9525">
            <a:noFill/>
            <a:miter lim="800000"/>
            <a:headEnd/>
            <a:tailEnd/>
          </a:ln>
        </p:spPr>
        <p:txBody>
          <a:bodyPr wrap="square" lIns="0" tIns="0" rIns="0" bIns="0">
            <a:spAutoFit/>
          </a:bodyPr>
          <a:lstStyle/>
          <a:p>
            <a:r>
              <a:rPr lang="en-US" sz="2800" b="1" dirty="0" smtClean="0"/>
              <a:t>QA Induction for Fresher’s</a:t>
            </a:r>
          </a:p>
        </p:txBody>
      </p:sp>
    </p:spTree>
    <p:extLst>
      <p:ext uri="{BB962C8B-B14F-4D97-AF65-F5344CB8AC3E}">
        <p14:creationId xmlns:p14="http://schemas.microsoft.com/office/powerpoint/2010/main" val="264603632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396240" y="274638"/>
            <a:ext cx="9014460" cy="778098"/>
          </a:xfrm>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Software Development Life </a:t>
            </a:r>
            <a:r>
              <a:rPr lang="en-US" sz="2400" dirty="0" smtClean="0"/>
              <a:t>Cycle (SDLC) &amp; CG Methodologies</a:t>
            </a:r>
            <a:endParaRPr lang="en-US" sz="2400" dirty="0"/>
          </a:p>
        </p:txBody>
      </p:sp>
      <p:sp>
        <p:nvSpPr>
          <p:cNvPr id="9" name="Rounded Rectangle 8"/>
          <p:cNvSpPr/>
          <p:nvPr/>
        </p:nvSpPr>
        <p:spPr>
          <a:xfrm>
            <a:off x="667874" y="2110740"/>
            <a:ext cx="8808720" cy="61790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smtClean="0">
                <a:solidFill>
                  <a:schemeClr val="tx2">
                    <a:lumMod val="50000"/>
                  </a:schemeClr>
                </a:solidFill>
              </a:rPr>
              <a:t>The software development life cycle is a framework defining tasks performed at each step in the software development process.</a:t>
            </a:r>
          </a:p>
        </p:txBody>
      </p:sp>
      <p:sp>
        <p:nvSpPr>
          <p:cNvPr id="18" name="Rounded Rectangle 17"/>
          <p:cNvSpPr/>
          <p:nvPr/>
        </p:nvSpPr>
        <p:spPr>
          <a:xfrm>
            <a:off x="162858" y="3139147"/>
            <a:ext cx="5082241" cy="2042453"/>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A typical Software Development life cycle consists of the following stages:</a:t>
            </a:r>
          </a:p>
          <a:p>
            <a:pPr lvl="1"/>
            <a:r>
              <a:rPr lang="en-US" sz="1400" dirty="0" smtClean="0">
                <a:solidFill>
                  <a:schemeClr val="tx2">
                    <a:lumMod val="50000"/>
                  </a:schemeClr>
                </a:solidFill>
              </a:rPr>
              <a:t>Stage 1: Planning and Requirement Analysis</a:t>
            </a:r>
          </a:p>
          <a:p>
            <a:pPr lvl="1"/>
            <a:r>
              <a:rPr lang="en-US" sz="1400" dirty="0" smtClean="0">
                <a:solidFill>
                  <a:schemeClr val="tx2">
                    <a:lumMod val="50000"/>
                  </a:schemeClr>
                </a:solidFill>
              </a:rPr>
              <a:t>Stage 2: Defining Requirements</a:t>
            </a:r>
          </a:p>
          <a:p>
            <a:pPr lvl="1"/>
            <a:r>
              <a:rPr lang="en-US" sz="1400" dirty="0" smtClean="0">
                <a:solidFill>
                  <a:schemeClr val="tx2">
                    <a:lumMod val="50000"/>
                  </a:schemeClr>
                </a:solidFill>
              </a:rPr>
              <a:t>Stage 3: Designing the product architecture</a:t>
            </a:r>
          </a:p>
          <a:p>
            <a:pPr lvl="1"/>
            <a:r>
              <a:rPr lang="en-US" sz="1400" dirty="0" smtClean="0">
                <a:solidFill>
                  <a:schemeClr val="tx2">
                    <a:lumMod val="50000"/>
                  </a:schemeClr>
                </a:solidFill>
              </a:rPr>
              <a:t>Stage 4: Building or Developing the Product</a:t>
            </a:r>
          </a:p>
          <a:p>
            <a:pPr lvl="1"/>
            <a:r>
              <a:rPr lang="en-US" sz="1400" dirty="0" smtClean="0">
                <a:solidFill>
                  <a:schemeClr val="tx2">
                    <a:lumMod val="50000"/>
                  </a:schemeClr>
                </a:solidFill>
              </a:rPr>
              <a:t>Stage 5: Testing the Product</a:t>
            </a:r>
          </a:p>
          <a:p>
            <a:pPr lvl="1"/>
            <a:r>
              <a:rPr lang="en-US" sz="1400" dirty="0" smtClean="0">
                <a:solidFill>
                  <a:schemeClr val="tx2">
                    <a:lumMod val="50000"/>
                  </a:schemeClr>
                </a:solidFill>
              </a:rPr>
              <a:t>Stage 6: Deployment in the Market and Maintenance</a:t>
            </a:r>
          </a:p>
        </p:txBody>
      </p:sp>
      <p:pic>
        <p:nvPicPr>
          <p:cNvPr id="19" name="Picture 2" descr="http://www.tutorialspoint.com/sdlc/images/sdlc_stages.jpg"/>
          <p:cNvPicPr>
            <a:picLocks noChangeAspect="1" noChangeArrowheads="1"/>
          </p:cNvPicPr>
          <p:nvPr/>
        </p:nvPicPr>
        <p:blipFill>
          <a:blip r:embed="rId3" cstate="print"/>
          <a:srcRect/>
          <a:stretch>
            <a:fillRect/>
          </a:stretch>
        </p:blipFill>
        <p:spPr bwMode="auto">
          <a:xfrm>
            <a:off x="5461000" y="2857500"/>
            <a:ext cx="4342217" cy="3427555"/>
          </a:xfrm>
          <a:prstGeom prst="rect">
            <a:avLst/>
          </a:prstGeom>
          <a:noFill/>
        </p:spPr>
      </p:pic>
      <p:sp>
        <p:nvSpPr>
          <p:cNvPr id="7" name="Rounded Rectangle 6"/>
          <p:cNvSpPr/>
          <p:nvPr/>
        </p:nvSpPr>
        <p:spPr>
          <a:xfrm>
            <a:off x="698354" y="1173480"/>
            <a:ext cx="8808720" cy="5486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smtClean="0">
                <a:solidFill>
                  <a:schemeClr val="tx2">
                    <a:lumMod val="50000"/>
                  </a:schemeClr>
                </a:solidFill>
              </a:rPr>
              <a:t>In a previous scenario, we have seen the </a:t>
            </a:r>
            <a:r>
              <a:rPr lang="en-US" sz="1400" dirty="0" err="1" smtClean="0">
                <a:solidFill>
                  <a:schemeClr val="tx2">
                    <a:lumMod val="50000"/>
                  </a:schemeClr>
                </a:solidFill>
              </a:rPr>
              <a:t>WhatsApp</a:t>
            </a:r>
            <a:r>
              <a:rPr lang="en-US" sz="1400" dirty="0" smtClean="0">
                <a:solidFill>
                  <a:schemeClr val="tx2">
                    <a:lumMod val="50000"/>
                  </a:schemeClr>
                </a:solidFill>
              </a:rPr>
              <a:t> Software development life cycle with its different stages.</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linds(horizontal)">
                                      <p:cBhvr>
                                        <p:cTn id="17" dur="500"/>
                                        <p:tgtEl>
                                          <p:spTgt spid="18"/>
                                        </p:tgtEl>
                                      </p:cBhvr>
                                    </p:animEffect>
                                  </p:childTnLst>
                                </p:cTn>
                              </p:par>
                              <p:par>
                                <p:cTn id="18" presetID="3" presetClass="entr" presetSubtype="1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8"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Various Life Cycle models &amp; </a:t>
            </a:r>
            <a:r>
              <a:rPr lang="en-US" sz="2400" dirty="0" err="1" smtClean="0"/>
              <a:t>Methodlogies</a:t>
            </a:r>
            <a:r>
              <a:rPr lang="en-US" sz="2400" dirty="0" smtClean="0"/>
              <a:t> in Software</a:t>
            </a:r>
            <a:endParaRPr lang="en-US" sz="2400" dirty="0">
              <a:solidFill>
                <a:srgbClr val="002060"/>
              </a:solidFill>
            </a:endParaRPr>
          </a:p>
        </p:txBody>
      </p:sp>
      <p:sp>
        <p:nvSpPr>
          <p:cNvPr id="13" name="Rounded Rectangle 12"/>
          <p:cNvSpPr/>
          <p:nvPr/>
        </p:nvSpPr>
        <p:spPr>
          <a:xfrm>
            <a:off x="736600" y="1212704"/>
            <a:ext cx="3937000" cy="12302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Most Important and Popular SDLC models:</a:t>
            </a:r>
          </a:p>
          <a:p>
            <a:pPr lvl="1">
              <a:buFont typeface="Wingdings" pitchFamily="2" charset="2"/>
              <a:buChar char="ü"/>
            </a:pPr>
            <a:r>
              <a:rPr lang="en-US" sz="1400" dirty="0" smtClean="0">
                <a:solidFill>
                  <a:schemeClr val="tx2">
                    <a:lumMod val="50000"/>
                  </a:schemeClr>
                </a:solidFill>
              </a:rPr>
              <a:t>Waterfall Model</a:t>
            </a:r>
          </a:p>
          <a:p>
            <a:pPr lvl="1">
              <a:buFont typeface="Wingdings" pitchFamily="2" charset="2"/>
              <a:buChar char="ü"/>
            </a:pPr>
            <a:r>
              <a:rPr lang="en-US" sz="1400" dirty="0" smtClean="0">
                <a:solidFill>
                  <a:schemeClr val="tx2">
                    <a:lumMod val="50000"/>
                  </a:schemeClr>
                </a:solidFill>
              </a:rPr>
              <a:t>Iterative Model</a:t>
            </a:r>
          </a:p>
          <a:p>
            <a:pPr lvl="1">
              <a:buFont typeface="Wingdings" pitchFamily="2" charset="2"/>
              <a:buChar char="ü"/>
            </a:pPr>
            <a:r>
              <a:rPr lang="en-US" sz="1400" dirty="0" smtClean="0">
                <a:solidFill>
                  <a:schemeClr val="tx2">
                    <a:lumMod val="50000"/>
                  </a:schemeClr>
                </a:solidFill>
              </a:rPr>
              <a:t>Spiral Model</a:t>
            </a:r>
          </a:p>
          <a:p>
            <a:pPr lvl="1">
              <a:buFont typeface="Wingdings" pitchFamily="2" charset="2"/>
              <a:buChar char="ü"/>
            </a:pPr>
            <a:r>
              <a:rPr lang="en-US" sz="1400" dirty="0" smtClean="0">
                <a:solidFill>
                  <a:schemeClr val="tx2">
                    <a:lumMod val="50000"/>
                  </a:schemeClr>
                </a:solidFill>
              </a:rPr>
              <a:t>V-Model</a:t>
            </a:r>
          </a:p>
        </p:txBody>
      </p:sp>
      <p:pic>
        <p:nvPicPr>
          <p:cNvPr id="14" name="Picture 13" descr="waterfall_model.png"/>
          <p:cNvPicPr>
            <a:picLocks noChangeAspect="1"/>
          </p:cNvPicPr>
          <p:nvPr/>
        </p:nvPicPr>
        <p:blipFill>
          <a:blip r:embed="rId3" cstate="print"/>
          <a:stretch>
            <a:fillRect/>
          </a:stretch>
        </p:blipFill>
        <p:spPr>
          <a:xfrm>
            <a:off x="476249" y="2736850"/>
            <a:ext cx="2395369" cy="1689592"/>
          </a:xfrm>
          <a:prstGeom prst="rect">
            <a:avLst/>
          </a:prstGeom>
        </p:spPr>
      </p:pic>
      <p:pic>
        <p:nvPicPr>
          <p:cNvPr id="15" name="Picture 14" descr="SpiralModel.jpg"/>
          <p:cNvPicPr>
            <a:picLocks noChangeAspect="1"/>
          </p:cNvPicPr>
          <p:nvPr/>
        </p:nvPicPr>
        <p:blipFill>
          <a:blip r:embed="rId4" cstate="print"/>
          <a:stretch>
            <a:fillRect/>
          </a:stretch>
        </p:blipFill>
        <p:spPr>
          <a:xfrm>
            <a:off x="2705100" y="2641600"/>
            <a:ext cx="3647157" cy="2673350"/>
          </a:xfrm>
          <a:prstGeom prst="rect">
            <a:avLst/>
          </a:prstGeom>
        </p:spPr>
      </p:pic>
      <p:pic>
        <p:nvPicPr>
          <p:cNvPr id="16" name="Picture 15" descr="v_model.gif"/>
          <p:cNvPicPr>
            <a:picLocks noChangeAspect="1"/>
          </p:cNvPicPr>
          <p:nvPr/>
        </p:nvPicPr>
        <p:blipFill>
          <a:blip r:embed="rId5" cstate="print"/>
          <a:stretch>
            <a:fillRect/>
          </a:stretch>
        </p:blipFill>
        <p:spPr>
          <a:xfrm>
            <a:off x="6311901" y="3264886"/>
            <a:ext cx="3594100" cy="2920014"/>
          </a:xfrm>
          <a:prstGeom prst="rect">
            <a:avLst/>
          </a:prstGeom>
        </p:spPr>
      </p:pic>
      <p:pic>
        <p:nvPicPr>
          <p:cNvPr id="17" name="Picture 16" descr="Iterative_Model.jpg"/>
          <p:cNvPicPr>
            <a:picLocks noChangeAspect="1"/>
          </p:cNvPicPr>
          <p:nvPr/>
        </p:nvPicPr>
        <p:blipFill>
          <a:blip r:embed="rId6" cstate="print"/>
          <a:stretch>
            <a:fillRect/>
          </a:stretch>
        </p:blipFill>
        <p:spPr>
          <a:xfrm>
            <a:off x="5054600" y="1206500"/>
            <a:ext cx="4787900" cy="1651000"/>
          </a:xfrm>
          <a:prstGeom prst="rect">
            <a:avLst/>
          </a:prstGeom>
        </p:spPr>
      </p:pic>
      <p:sp>
        <p:nvSpPr>
          <p:cNvPr id="9" name="Rounded Rectangle 8"/>
          <p:cNvSpPr/>
          <p:nvPr/>
        </p:nvSpPr>
        <p:spPr>
          <a:xfrm>
            <a:off x="198269" y="4527550"/>
            <a:ext cx="4099261" cy="16510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q"/>
            </a:pPr>
            <a:r>
              <a:rPr lang="en-US" sz="1400" dirty="0" smtClean="0">
                <a:solidFill>
                  <a:schemeClr val="tx2">
                    <a:lumMod val="50000"/>
                  </a:schemeClr>
                </a:solidFill>
              </a:rPr>
              <a:t>Methodologies:</a:t>
            </a:r>
          </a:p>
          <a:p>
            <a:pPr lvl="1">
              <a:buFont typeface="Wingdings" pitchFamily="2" charset="2"/>
              <a:buChar char="ü"/>
            </a:pPr>
            <a:r>
              <a:rPr lang="en-US" sz="1400" dirty="0" smtClean="0">
                <a:solidFill>
                  <a:schemeClr val="tx2">
                    <a:lumMod val="50000"/>
                  </a:schemeClr>
                </a:solidFill>
              </a:rPr>
              <a:t>UPM – Unified </a:t>
            </a:r>
            <a:r>
              <a:rPr lang="en-US" sz="1400" b="1" dirty="0" smtClean="0">
                <a:solidFill>
                  <a:schemeClr val="tx2">
                    <a:lumMod val="50000"/>
                  </a:schemeClr>
                </a:solidFill>
              </a:rPr>
              <a:t>Project Management</a:t>
            </a:r>
          </a:p>
          <a:p>
            <a:pPr lvl="1">
              <a:buFont typeface="Wingdings" pitchFamily="2" charset="2"/>
              <a:buChar char="ü"/>
            </a:pPr>
            <a:r>
              <a:rPr lang="en-US" sz="1400" dirty="0" smtClean="0">
                <a:solidFill>
                  <a:schemeClr val="tx2">
                    <a:lumMod val="50000"/>
                  </a:schemeClr>
                </a:solidFill>
              </a:rPr>
              <a:t>India Agile Process Framework  - </a:t>
            </a:r>
            <a:r>
              <a:rPr lang="en-US" sz="1400" b="1" dirty="0" smtClean="0">
                <a:solidFill>
                  <a:schemeClr val="tx2">
                    <a:lumMod val="50000"/>
                  </a:schemeClr>
                </a:solidFill>
              </a:rPr>
              <a:t>Agile</a:t>
            </a:r>
          </a:p>
          <a:p>
            <a:pPr lvl="1">
              <a:buFont typeface="Wingdings" pitchFamily="2" charset="2"/>
              <a:buChar char="ü"/>
            </a:pPr>
            <a:r>
              <a:rPr lang="en-US" sz="1400" dirty="0" err="1" smtClean="0">
                <a:solidFill>
                  <a:schemeClr val="tx2">
                    <a:lumMod val="50000"/>
                  </a:schemeClr>
                </a:solidFill>
              </a:rPr>
              <a:t>iSAP</a:t>
            </a:r>
            <a:r>
              <a:rPr lang="en-US" sz="1400" dirty="0" smtClean="0">
                <a:solidFill>
                  <a:schemeClr val="tx2">
                    <a:lumMod val="50000"/>
                  </a:schemeClr>
                </a:solidFill>
              </a:rPr>
              <a:t> – Industrialized SAP - </a:t>
            </a:r>
            <a:r>
              <a:rPr lang="en-US" sz="1400" b="1" dirty="0" smtClean="0">
                <a:solidFill>
                  <a:schemeClr val="tx2">
                    <a:lumMod val="50000"/>
                  </a:schemeClr>
                </a:solidFill>
              </a:rPr>
              <a:t>SAP</a:t>
            </a:r>
          </a:p>
          <a:p>
            <a:pPr lvl="1">
              <a:buFont typeface="Wingdings" pitchFamily="2" charset="2"/>
              <a:buChar char="ü"/>
            </a:pPr>
            <a:r>
              <a:rPr lang="en-US" sz="1400" dirty="0" smtClean="0">
                <a:solidFill>
                  <a:schemeClr val="tx2">
                    <a:lumMod val="50000"/>
                  </a:schemeClr>
                </a:solidFill>
              </a:rPr>
              <a:t>TMAP – </a:t>
            </a:r>
            <a:r>
              <a:rPr lang="en-US" sz="1400" b="1" dirty="0" smtClean="0">
                <a:solidFill>
                  <a:schemeClr val="tx2">
                    <a:lumMod val="50000"/>
                  </a:schemeClr>
                </a:solidFill>
              </a:rPr>
              <a:t>Testing</a:t>
            </a:r>
          </a:p>
          <a:p>
            <a:pPr lvl="1">
              <a:buFont typeface="Wingdings" pitchFamily="2" charset="2"/>
              <a:buChar char="ü"/>
            </a:pPr>
            <a:r>
              <a:rPr lang="en-US" sz="1400" dirty="0" smtClean="0">
                <a:solidFill>
                  <a:schemeClr val="tx2">
                    <a:lumMod val="50000"/>
                  </a:schemeClr>
                </a:solidFill>
              </a:rPr>
              <a:t>OUM – Oracle Unified Methodology - </a:t>
            </a:r>
            <a:r>
              <a:rPr lang="en-US" sz="1400" b="1" dirty="0" smtClean="0">
                <a:solidFill>
                  <a:schemeClr val="tx2">
                    <a:lumMod val="50000"/>
                  </a:schemeClr>
                </a:solidFill>
              </a:rPr>
              <a:t>Oracle</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linds(horizontal)">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linds(horizontal)">
                                      <p:cBhvr>
                                        <p:cTn id="12" dur="500"/>
                                        <p:tgtEl>
                                          <p:spTgt spid="13">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3">
                                            <p:txEl>
                                              <p:pRg st="1" end="1"/>
                                            </p:txEl>
                                          </p:spTgt>
                                        </p:tgtEl>
                                        <p:attrNameLst>
                                          <p:attrName>style.visibility</p:attrName>
                                        </p:attrNameLst>
                                      </p:cBhvr>
                                      <p:to>
                                        <p:strVal val="visible"/>
                                      </p:to>
                                    </p:set>
                                    <p:animEffect transition="in" filter="blinds(horizontal)">
                                      <p:cBhvr>
                                        <p:cTn id="18" dur="500"/>
                                        <p:tgtEl>
                                          <p:spTgt spid="13">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blinds(horizontal)">
                                      <p:cBhvr>
                                        <p:cTn id="23" dur="500"/>
                                        <p:tgtEl>
                                          <p:spTgt spid="13">
                                            <p:txEl>
                                              <p:pRg st="2" end="2"/>
                                            </p:txEl>
                                          </p:spTgt>
                                        </p:tgtEl>
                                      </p:cBhvr>
                                    </p:animEffect>
                                  </p:childTnLst>
                                </p:cTn>
                              </p:par>
                              <p:par>
                                <p:cTn id="24" presetID="3" presetClass="entr" presetSubtype="1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blinds(horizontal)">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13">
                                            <p:txEl>
                                              <p:pRg st="3" end="3"/>
                                            </p:txEl>
                                          </p:spTgt>
                                        </p:tgtEl>
                                        <p:attrNameLst>
                                          <p:attrName>style.visibility</p:attrName>
                                        </p:attrNameLst>
                                      </p:cBhvr>
                                      <p:to>
                                        <p:strVal val="visible"/>
                                      </p:to>
                                    </p:set>
                                    <p:animEffect transition="in" filter="blinds(horizontal)">
                                      <p:cBhvr>
                                        <p:cTn id="31" dur="500"/>
                                        <p:tgtEl>
                                          <p:spTgt spid="13">
                                            <p:txEl>
                                              <p:pRg st="3" end="3"/>
                                            </p:txEl>
                                          </p:spTgt>
                                        </p:tgtEl>
                                      </p:cBhvr>
                                    </p:animEffect>
                                  </p:childTnLst>
                                </p:cTn>
                              </p:par>
                              <p:par>
                                <p:cTn id="32" presetID="3" presetClass="entr" presetSubtype="1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nodeType="clickEffect">
                                  <p:stCondLst>
                                    <p:cond delay="0"/>
                                  </p:stCondLst>
                                  <p:childTnLst>
                                    <p:set>
                                      <p:cBhvr>
                                        <p:cTn id="38" dur="1" fill="hold">
                                          <p:stCondLst>
                                            <p:cond delay="0"/>
                                          </p:stCondLst>
                                        </p:cTn>
                                        <p:tgtEl>
                                          <p:spTgt spid="13">
                                            <p:txEl>
                                              <p:pRg st="4" end="4"/>
                                            </p:txEl>
                                          </p:spTgt>
                                        </p:tgtEl>
                                        <p:attrNameLst>
                                          <p:attrName>style.visibility</p:attrName>
                                        </p:attrNameLst>
                                      </p:cBhvr>
                                      <p:to>
                                        <p:strVal val="visible"/>
                                      </p:to>
                                    </p:set>
                                    <p:animEffect transition="in" filter="blinds(horizontal)">
                                      <p:cBhvr>
                                        <p:cTn id="39" dur="500"/>
                                        <p:tgtEl>
                                          <p:spTgt spid="13">
                                            <p:txEl>
                                              <p:pRg st="4" end="4"/>
                                            </p:txEl>
                                          </p:spTgt>
                                        </p:tgtEl>
                                      </p:cBhvr>
                                    </p:animEffect>
                                  </p:childTnLst>
                                </p:cTn>
                              </p:par>
                              <p:par>
                                <p:cTn id="40" presetID="3" presetClass="entr" presetSubtype="1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blinds(horizontal)">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blinds(horizontal)">
                                      <p:cBhvr>
                                        <p:cTn id="4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allAtOnce"/>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smtClean="0"/>
              <a:t>Role Play on SDLC</a:t>
            </a:r>
          </a:p>
        </p:txBody>
      </p:sp>
      <p:sp>
        <p:nvSpPr>
          <p:cNvPr id="7" name="TextBox 6"/>
          <p:cNvSpPr txBox="1"/>
          <p:nvPr/>
        </p:nvSpPr>
        <p:spPr>
          <a:xfrm>
            <a:off x="1341120" y="1920241"/>
            <a:ext cx="5745480" cy="1815882"/>
          </a:xfrm>
          <a:prstGeom prst="rect">
            <a:avLst/>
          </a:prstGeom>
          <a:noFill/>
        </p:spPr>
        <p:txBody>
          <a:bodyPr wrap="square" rtlCol="0">
            <a:spAutoFit/>
          </a:bodyPr>
          <a:lstStyle/>
          <a:p>
            <a:r>
              <a:rPr lang="en-US" sz="2800" dirty="0" smtClean="0">
                <a:solidFill>
                  <a:schemeClr val="tx2">
                    <a:lumMod val="50000"/>
                  </a:schemeClr>
                </a:solidFill>
              </a:rPr>
              <a:t>Example Scenarios:</a:t>
            </a:r>
          </a:p>
          <a:p>
            <a:pPr lvl="1">
              <a:buFont typeface="Wingdings" pitchFamily="2" charset="2"/>
              <a:buChar char="Ø"/>
            </a:pPr>
            <a:r>
              <a:rPr lang="en-US" sz="2800" dirty="0" smtClean="0">
                <a:solidFill>
                  <a:schemeClr val="tx2">
                    <a:lumMod val="50000"/>
                  </a:schemeClr>
                </a:solidFill>
              </a:rPr>
              <a:t>OLA App development</a:t>
            </a:r>
          </a:p>
          <a:p>
            <a:pPr lvl="1">
              <a:buFont typeface="Wingdings" pitchFamily="2" charset="2"/>
              <a:buChar char="Ø"/>
            </a:pPr>
            <a:r>
              <a:rPr lang="en-US" sz="2800" dirty="0" smtClean="0">
                <a:solidFill>
                  <a:schemeClr val="tx2">
                    <a:lumMod val="50000"/>
                  </a:schemeClr>
                </a:solidFill>
              </a:rPr>
              <a:t>UBER App development</a:t>
            </a:r>
          </a:p>
          <a:p>
            <a:pPr lvl="1">
              <a:buFont typeface="Wingdings" pitchFamily="2" charset="2"/>
              <a:buChar char="Ø"/>
            </a:pPr>
            <a:r>
              <a:rPr lang="en-US" sz="2800" dirty="0" smtClean="0">
                <a:solidFill>
                  <a:schemeClr val="tx2">
                    <a:lumMod val="50000"/>
                  </a:schemeClr>
                </a:solidFill>
              </a:rPr>
              <a:t>Make My Trip design.</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Generic Terminologies </a:t>
            </a:r>
            <a:endParaRPr lang="en-US" sz="2400" dirty="0">
              <a:solidFill>
                <a:srgbClr val="002060"/>
              </a:solidFill>
            </a:endParaRPr>
          </a:p>
        </p:txBody>
      </p:sp>
      <p:sp>
        <p:nvSpPr>
          <p:cNvPr id="10" name="Rounded Rectangle 9"/>
          <p:cNvSpPr/>
          <p:nvPr/>
        </p:nvSpPr>
        <p:spPr>
          <a:xfrm>
            <a:off x="640080" y="1257181"/>
            <a:ext cx="9098280" cy="93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 Product?</a:t>
            </a:r>
          </a:p>
          <a:p>
            <a:pPr marL="0" lvl="1">
              <a:spcBef>
                <a:spcPts val="117"/>
              </a:spcBef>
              <a:buClr>
                <a:schemeClr val="tx1"/>
              </a:buClr>
              <a:buSzPct val="100000"/>
              <a:defRPr/>
            </a:pPr>
            <a:r>
              <a:rPr lang="en-US" altLang="en-US" sz="1600" dirty="0" smtClean="0">
                <a:solidFill>
                  <a:srgbClr val="000000"/>
                </a:solidFill>
              </a:rPr>
              <a:t>Software or substance that is manufactured/developed for sale.</a:t>
            </a:r>
          </a:p>
          <a:p>
            <a:pPr marL="0" lvl="1">
              <a:spcBef>
                <a:spcPts val="117"/>
              </a:spcBef>
              <a:buClr>
                <a:schemeClr val="tx1"/>
              </a:buClr>
              <a:buSzPct val="100000"/>
              <a:defRPr/>
            </a:pPr>
            <a:r>
              <a:rPr lang="en-US" altLang="en-US" sz="1600" dirty="0" smtClean="0">
                <a:solidFill>
                  <a:srgbClr val="000000"/>
                </a:solidFill>
              </a:rPr>
              <a:t>Example: A Software app (</a:t>
            </a:r>
            <a:r>
              <a:rPr lang="en-US" altLang="en-US" sz="1600" dirty="0" err="1" smtClean="0">
                <a:solidFill>
                  <a:srgbClr val="000000"/>
                </a:solidFill>
              </a:rPr>
              <a:t>WhatsApp</a:t>
            </a:r>
            <a:r>
              <a:rPr lang="en-US" altLang="en-US" sz="1600" dirty="0" smtClean="0">
                <a:solidFill>
                  <a:srgbClr val="000000"/>
                </a:solidFill>
              </a:rPr>
              <a:t>), </a:t>
            </a:r>
            <a:r>
              <a:rPr lang="en-US" sz="1600" dirty="0" smtClean="0">
                <a:solidFill>
                  <a:schemeClr val="tx2">
                    <a:lumMod val="50000"/>
                  </a:schemeClr>
                </a:solidFill>
              </a:rPr>
              <a:t>Smart Phone. Tennis Ball, A Computer etc..</a:t>
            </a:r>
            <a:endParaRPr lang="en-GB" altLang="en-US" sz="1600" dirty="0" smtClean="0">
              <a:solidFill>
                <a:srgbClr val="000000"/>
              </a:solidFill>
            </a:endParaRPr>
          </a:p>
        </p:txBody>
      </p:sp>
      <p:sp>
        <p:nvSpPr>
          <p:cNvPr id="11" name="Rounded Rectangle 10"/>
          <p:cNvSpPr/>
          <p:nvPr/>
        </p:nvSpPr>
        <p:spPr>
          <a:xfrm>
            <a:off x="640080" y="2339221"/>
            <a:ext cx="9098280" cy="10745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 Defect?</a:t>
            </a:r>
          </a:p>
          <a:p>
            <a:pPr marL="0" lvl="1">
              <a:spcBef>
                <a:spcPts val="117"/>
              </a:spcBef>
              <a:buClr>
                <a:schemeClr val="tx1"/>
              </a:buClr>
              <a:buSzPct val="100000"/>
              <a:defRPr/>
            </a:pPr>
            <a:r>
              <a:rPr lang="en-US" altLang="en-US" sz="1600" dirty="0" smtClean="0">
                <a:solidFill>
                  <a:srgbClr val="000000"/>
                </a:solidFill>
              </a:rPr>
              <a:t>Non-conformance of a product with the specified requirements, or non-fulfillment of user expectations.</a:t>
            </a:r>
          </a:p>
          <a:p>
            <a:pPr marL="0" lvl="1">
              <a:spcBef>
                <a:spcPts val="117"/>
              </a:spcBef>
              <a:buClr>
                <a:schemeClr val="tx1"/>
              </a:buClr>
              <a:buSzPct val="100000"/>
              <a:defRPr/>
            </a:pPr>
            <a:r>
              <a:rPr lang="en-US" altLang="en-US" sz="1600" dirty="0" smtClean="0">
                <a:solidFill>
                  <a:srgbClr val="000000"/>
                </a:solidFill>
              </a:rPr>
              <a:t>Example: WhatsApp messages not getting delivered, Smartphone camera not working, </a:t>
            </a:r>
            <a:endParaRPr lang="en-GB" altLang="en-US" sz="1600" dirty="0" smtClean="0">
              <a:solidFill>
                <a:srgbClr val="000000"/>
              </a:solidFill>
            </a:endParaRPr>
          </a:p>
        </p:txBody>
      </p:sp>
      <p:sp>
        <p:nvSpPr>
          <p:cNvPr id="12" name="Rounded Rectangle 11"/>
          <p:cNvSpPr/>
          <p:nvPr/>
        </p:nvSpPr>
        <p:spPr>
          <a:xfrm>
            <a:off x="640080" y="3558420"/>
            <a:ext cx="9098280" cy="12421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n Issue?</a:t>
            </a:r>
          </a:p>
          <a:p>
            <a:pPr marL="0" lvl="1">
              <a:spcBef>
                <a:spcPts val="117"/>
              </a:spcBef>
              <a:buClr>
                <a:schemeClr val="tx1"/>
              </a:buClr>
              <a:buSzPct val="100000"/>
              <a:defRPr/>
            </a:pPr>
            <a:r>
              <a:rPr lang="en-US" altLang="en-US" sz="1600" dirty="0" smtClean="0">
                <a:solidFill>
                  <a:srgbClr val="000000"/>
                </a:solidFill>
              </a:rPr>
              <a:t>An issue is a problem related to a project/product that is currently occurring.</a:t>
            </a:r>
          </a:p>
          <a:p>
            <a:pPr marL="0" lvl="1">
              <a:spcBef>
                <a:spcPts val="117"/>
              </a:spcBef>
              <a:buClr>
                <a:schemeClr val="tx1"/>
              </a:buClr>
              <a:buSzPct val="100000"/>
              <a:defRPr/>
            </a:pPr>
            <a:r>
              <a:rPr lang="en-US" altLang="en-US" sz="1600" dirty="0" smtClean="0">
                <a:solidFill>
                  <a:srgbClr val="000000"/>
                </a:solidFill>
              </a:rPr>
              <a:t>Example: Developer doesn't have the skill to fix the defect.</a:t>
            </a:r>
          </a:p>
        </p:txBody>
      </p:sp>
      <p:sp>
        <p:nvSpPr>
          <p:cNvPr id="13" name="Rounded Rectangle 12"/>
          <p:cNvSpPr/>
          <p:nvPr/>
        </p:nvSpPr>
        <p:spPr>
          <a:xfrm>
            <a:off x="640080" y="5029200"/>
            <a:ext cx="9098280" cy="112395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What is a Risk?</a:t>
            </a:r>
          </a:p>
          <a:p>
            <a:pPr marL="0" lvl="1">
              <a:spcBef>
                <a:spcPts val="117"/>
              </a:spcBef>
              <a:buClr>
                <a:schemeClr val="tx1"/>
              </a:buClr>
              <a:buSzPct val="100000"/>
              <a:defRPr/>
            </a:pPr>
            <a:r>
              <a:rPr lang="en-US" altLang="en-US" sz="1600" dirty="0" smtClean="0">
                <a:solidFill>
                  <a:srgbClr val="000000"/>
                </a:solidFill>
              </a:rPr>
              <a:t>A risk is an uncertain event or condition that, if it occurs, has a positive or negative impact on a project's objectives.  Risks can become issues if they are not addressed properly.</a:t>
            </a:r>
          </a:p>
          <a:p>
            <a:pPr marL="0" lvl="1">
              <a:spcBef>
                <a:spcPts val="117"/>
              </a:spcBef>
              <a:buClr>
                <a:schemeClr val="tx1"/>
              </a:buClr>
              <a:buSzPct val="100000"/>
              <a:defRPr/>
            </a:pPr>
            <a:r>
              <a:rPr lang="en-US" altLang="en-US" sz="1600" dirty="0" smtClean="0">
                <a:solidFill>
                  <a:srgbClr val="000000"/>
                </a:solidFill>
              </a:rPr>
              <a:t>Example: Requirements elicitation is not done properly, might result into more design defects.</a:t>
            </a:r>
            <a:endParaRPr lang="en-GB" altLang="en-US" sz="1600" dirty="0" smtClean="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a:t>Scenario : Alex’s </a:t>
            </a:r>
            <a:r>
              <a:rPr lang="en-US" sz="2400" dirty="0" smtClean="0"/>
              <a:t>Smartphone</a:t>
            </a:r>
            <a:endParaRPr lang="en-US" sz="2400" dirty="0"/>
          </a:p>
        </p:txBody>
      </p:sp>
      <p:pic>
        <p:nvPicPr>
          <p:cNvPr id="5" name="Picture 4" descr="1_SmartPhone.png"/>
          <p:cNvPicPr>
            <a:picLocks noChangeAspect="1"/>
          </p:cNvPicPr>
          <p:nvPr/>
        </p:nvPicPr>
        <p:blipFill>
          <a:blip r:embed="rId2" cstate="print"/>
          <a:stretch>
            <a:fillRect/>
          </a:stretch>
        </p:blipFill>
        <p:spPr>
          <a:xfrm>
            <a:off x="0" y="3638550"/>
            <a:ext cx="1478280" cy="1714500"/>
          </a:xfrm>
          <a:prstGeom prst="rect">
            <a:avLst/>
          </a:prstGeom>
        </p:spPr>
      </p:pic>
      <p:pic>
        <p:nvPicPr>
          <p:cNvPr id="7" name="Picture 6" descr="2_Mobileshop.jpg"/>
          <p:cNvPicPr>
            <a:picLocks noChangeAspect="1"/>
          </p:cNvPicPr>
          <p:nvPr/>
        </p:nvPicPr>
        <p:blipFill>
          <a:blip r:embed="rId3" cstate="print"/>
          <a:stretch>
            <a:fillRect/>
          </a:stretch>
        </p:blipFill>
        <p:spPr>
          <a:xfrm>
            <a:off x="1508760" y="3688080"/>
            <a:ext cx="1962150" cy="1752600"/>
          </a:xfrm>
          <a:prstGeom prst="rect">
            <a:avLst/>
          </a:prstGeom>
        </p:spPr>
      </p:pic>
      <p:pic>
        <p:nvPicPr>
          <p:cNvPr id="9" name="Picture 8" descr="3_Screengaurd.jpg"/>
          <p:cNvPicPr>
            <a:picLocks noChangeAspect="1"/>
          </p:cNvPicPr>
          <p:nvPr/>
        </p:nvPicPr>
        <p:blipFill>
          <a:blip r:embed="rId4" cstate="print"/>
          <a:stretch>
            <a:fillRect/>
          </a:stretch>
        </p:blipFill>
        <p:spPr>
          <a:xfrm>
            <a:off x="3493770" y="3630930"/>
            <a:ext cx="1703070" cy="1855470"/>
          </a:xfrm>
          <a:prstGeom prst="rect">
            <a:avLst/>
          </a:prstGeom>
        </p:spPr>
      </p:pic>
      <p:pic>
        <p:nvPicPr>
          <p:cNvPr id="10" name="Picture 9" descr="4_Battery Discharge Quickly.jpg"/>
          <p:cNvPicPr>
            <a:picLocks noChangeAspect="1"/>
          </p:cNvPicPr>
          <p:nvPr/>
        </p:nvPicPr>
        <p:blipFill>
          <a:blip r:embed="rId5" cstate="print"/>
          <a:stretch>
            <a:fillRect/>
          </a:stretch>
        </p:blipFill>
        <p:spPr>
          <a:xfrm>
            <a:off x="4998720" y="3672840"/>
            <a:ext cx="1752600" cy="1752600"/>
          </a:xfrm>
          <a:prstGeom prst="rect">
            <a:avLst/>
          </a:prstGeom>
        </p:spPr>
      </p:pic>
      <p:pic>
        <p:nvPicPr>
          <p:cNvPr id="11" name="Picture 10" descr="5_CameraNotworking.png"/>
          <p:cNvPicPr>
            <a:picLocks noChangeAspect="1"/>
          </p:cNvPicPr>
          <p:nvPr/>
        </p:nvPicPr>
        <p:blipFill>
          <a:blip r:embed="rId6" cstate="print"/>
          <a:stretch>
            <a:fillRect/>
          </a:stretch>
        </p:blipFill>
        <p:spPr>
          <a:xfrm>
            <a:off x="6807756" y="3947159"/>
            <a:ext cx="1328223" cy="746761"/>
          </a:xfrm>
          <a:prstGeom prst="rect">
            <a:avLst/>
          </a:prstGeom>
        </p:spPr>
      </p:pic>
      <p:pic>
        <p:nvPicPr>
          <p:cNvPr id="12" name="Picture 11" descr="6_Service desk.jpg"/>
          <p:cNvPicPr>
            <a:picLocks noChangeAspect="1"/>
          </p:cNvPicPr>
          <p:nvPr/>
        </p:nvPicPr>
        <p:blipFill>
          <a:blip r:embed="rId7" cstate="print"/>
          <a:stretch>
            <a:fillRect/>
          </a:stretch>
        </p:blipFill>
        <p:spPr>
          <a:xfrm>
            <a:off x="8187062" y="3749040"/>
            <a:ext cx="1475098" cy="1104900"/>
          </a:xfrm>
          <a:prstGeom prst="rect">
            <a:avLst/>
          </a:prstGeom>
        </p:spPr>
      </p:pic>
      <p:pic>
        <p:nvPicPr>
          <p:cNvPr id="13" name="Picture 12" descr="7_Happy Alex.jpg"/>
          <p:cNvPicPr>
            <a:picLocks noChangeAspect="1"/>
          </p:cNvPicPr>
          <p:nvPr/>
        </p:nvPicPr>
        <p:blipFill>
          <a:blip r:embed="rId8" cstate="print"/>
          <a:stretch>
            <a:fillRect/>
          </a:stretch>
        </p:blipFill>
        <p:spPr>
          <a:xfrm>
            <a:off x="7818120" y="4907280"/>
            <a:ext cx="1554480" cy="1714500"/>
          </a:xfrm>
          <a:prstGeom prst="rect">
            <a:avLst/>
          </a:prstGeom>
        </p:spPr>
      </p:pic>
      <p:sp>
        <p:nvSpPr>
          <p:cNvPr id="15" name="Rounded Rectangle 14"/>
          <p:cNvSpPr/>
          <p:nvPr/>
        </p:nvSpPr>
        <p:spPr>
          <a:xfrm>
            <a:off x="152400" y="1417320"/>
            <a:ext cx="9662160" cy="18440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endParaRPr lang="en-US" sz="1400" b="1" dirty="0" smtClean="0"/>
          </a:p>
          <a:p>
            <a:r>
              <a:rPr lang="en-US" sz="1400" dirty="0" smtClean="0"/>
              <a:t>Alex is in need of a cell phone. He goes to a mobile shop and buys a smart phone. He gets 1 year warranty on his phone. He also understands that the smart phone screen may get scratch while using, so he gets his phone screen covered with a screengaurd. After some days he noticed that the battery is getting discharged very quickly. And after a few more days, he noticed that he is not able to take photos and camera is not working. As he has a warranty on his phone, he takes his phone to the customer service desk and gets it fixed for free of cost. Alex is happy now that his phone is working properly. </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linds(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linds(horizontal)">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linds(horizontal)">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blinds(horizontal)">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blinds(horizontal)">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2400" dirty="0" smtClean="0"/>
              <a:t>Generic Terminologies </a:t>
            </a:r>
            <a:endParaRPr lang="en-US" sz="2400" dirty="0">
              <a:solidFill>
                <a:srgbClr val="002060"/>
              </a:solidFill>
            </a:endParaRPr>
          </a:p>
        </p:txBody>
      </p:sp>
      <p:sp>
        <p:nvSpPr>
          <p:cNvPr id="5" name="Rounded Rectangle 4"/>
          <p:cNvSpPr/>
          <p:nvPr/>
        </p:nvSpPr>
        <p:spPr>
          <a:xfrm>
            <a:off x="3627120" y="1257180"/>
            <a:ext cx="5532120" cy="12574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t>What is a Service?</a:t>
            </a:r>
          </a:p>
          <a:p>
            <a:pPr marL="0" lvl="1">
              <a:spcBef>
                <a:spcPts val="117"/>
              </a:spcBef>
              <a:buClr>
                <a:schemeClr val="tx1"/>
              </a:buClr>
              <a:buSzPct val="100000"/>
              <a:defRPr/>
            </a:pPr>
            <a:r>
              <a:rPr lang="en-US" altLang="en-US" sz="1600" dirty="0" smtClean="0"/>
              <a:t>A valuable action, deed, or effort performed to satisfy a need or to fulfill a demand.</a:t>
            </a:r>
            <a:endParaRPr lang="en-GB" altLang="en-US" sz="1600" dirty="0" smtClean="0"/>
          </a:p>
          <a:p>
            <a:pPr marL="0" lvl="1">
              <a:spcBef>
                <a:spcPts val="117"/>
              </a:spcBef>
              <a:buClr>
                <a:schemeClr val="tx1"/>
              </a:buClr>
              <a:buSzPct val="100000"/>
              <a:defRPr/>
            </a:pPr>
            <a:r>
              <a:rPr lang="en-US" altLang="en-US" sz="1600" dirty="0" smtClean="0"/>
              <a:t>Example: Alex’s Smartphone repair.</a:t>
            </a:r>
            <a:endParaRPr lang="en-GB" altLang="en-US" sz="1600" dirty="0" smtClean="0"/>
          </a:p>
        </p:txBody>
      </p:sp>
      <p:sp>
        <p:nvSpPr>
          <p:cNvPr id="9" name="Rounded Rectangle 8"/>
          <p:cNvSpPr/>
          <p:nvPr/>
        </p:nvSpPr>
        <p:spPr>
          <a:xfrm>
            <a:off x="3078480" y="2903100"/>
            <a:ext cx="6309360" cy="11354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t>What is an Incident?</a:t>
            </a:r>
            <a:endParaRPr lang="en-GB" altLang="en-US" sz="1600" dirty="0" smtClean="0"/>
          </a:p>
          <a:p>
            <a:pPr marL="0" lvl="1">
              <a:spcBef>
                <a:spcPts val="117"/>
              </a:spcBef>
              <a:buClr>
                <a:schemeClr val="tx1"/>
              </a:buClr>
              <a:buSzPct val="100000"/>
              <a:defRPr/>
            </a:pPr>
            <a:r>
              <a:rPr lang="en-US" altLang="en-US" sz="1600" dirty="0" smtClean="0"/>
              <a:t>Unplanned interruption to a service, a reduction in the quality of a service.</a:t>
            </a:r>
          </a:p>
          <a:p>
            <a:pPr marL="0" lvl="1">
              <a:spcBef>
                <a:spcPts val="117"/>
              </a:spcBef>
              <a:buClr>
                <a:schemeClr val="tx1"/>
              </a:buClr>
              <a:buSzPct val="100000"/>
              <a:defRPr/>
            </a:pPr>
            <a:r>
              <a:rPr lang="en-US" altLang="en-US" sz="1600" dirty="0" smtClean="0"/>
              <a:t>Example: Alex’s Smartphone camera is not working.</a:t>
            </a:r>
          </a:p>
        </p:txBody>
      </p:sp>
      <p:sp>
        <p:nvSpPr>
          <p:cNvPr id="10" name="Rounded Rectangle 9"/>
          <p:cNvSpPr/>
          <p:nvPr/>
        </p:nvSpPr>
        <p:spPr>
          <a:xfrm>
            <a:off x="2331720" y="4465320"/>
            <a:ext cx="7452360" cy="15849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t>What is an Problem?</a:t>
            </a:r>
          </a:p>
          <a:p>
            <a:pPr marL="0" lvl="1">
              <a:spcBef>
                <a:spcPts val="117"/>
              </a:spcBef>
              <a:buClr>
                <a:schemeClr val="tx1"/>
              </a:buClr>
              <a:buSzPct val="100000"/>
              <a:defRPr/>
            </a:pPr>
            <a:r>
              <a:rPr lang="en-US" altLang="en-US" sz="1600" dirty="0" smtClean="0"/>
              <a:t>A problem is a condition often identified as a result of multiple incidents that exhibit common symptoms. </a:t>
            </a:r>
          </a:p>
          <a:p>
            <a:pPr marL="0" lvl="1">
              <a:spcBef>
                <a:spcPts val="117"/>
              </a:spcBef>
              <a:buClr>
                <a:schemeClr val="tx1"/>
              </a:buClr>
              <a:buSzPct val="100000"/>
              <a:defRPr/>
            </a:pPr>
            <a:r>
              <a:rPr lang="en-US" altLang="en-US" sz="1600" dirty="0" smtClean="0"/>
              <a:t>Example: Alex’s gets the battery replaced however after few days he again gets the same issue.</a:t>
            </a:r>
          </a:p>
        </p:txBody>
      </p:sp>
      <p:pic>
        <p:nvPicPr>
          <p:cNvPr id="11" name="Picture 10" descr="6_Service desk.jpg"/>
          <p:cNvPicPr>
            <a:picLocks noChangeAspect="1"/>
          </p:cNvPicPr>
          <p:nvPr/>
        </p:nvPicPr>
        <p:blipFill>
          <a:blip r:embed="rId3" cstate="print"/>
          <a:stretch>
            <a:fillRect/>
          </a:stretch>
        </p:blipFill>
        <p:spPr>
          <a:xfrm>
            <a:off x="810902" y="1127759"/>
            <a:ext cx="2008498" cy="1504435"/>
          </a:xfrm>
          <a:prstGeom prst="rect">
            <a:avLst/>
          </a:prstGeom>
        </p:spPr>
      </p:pic>
      <p:pic>
        <p:nvPicPr>
          <p:cNvPr id="12" name="Picture 11" descr="5_CameraNotworking.png"/>
          <p:cNvPicPr>
            <a:picLocks noChangeAspect="1"/>
          </p:cNvPicPr>
          <p:nvPr/>
        </p:nvPicPr>
        <p:blipFill>
          <a:blip r:embed="rId4" cstate="print"/>
          <a:stretch>
            <a:fillRect/>
          </a:stretch>
        </p:blipFill>
        <p:spPr>
          <a:xfrm>
            <a:off x="285036" y="2865119"/>
            <a:ext cx="2032993" cy="1143001"/>
          </a:xfrm>
          <a:prstGeom prst="rect">
            <a:avLst/>
          </a:prstGeom>
        </p:spPr>
      </p:pic>
      <p:pic>
        <p:nvPicPr>
          <p:cNvPr id="13" name="Picture 12" descr="4_Battery Discharge Quickly.jpg"/>
          <p:cNvPicPr>
            <a:picLocks noChangeAspect="1"/>
          </p:cNvPicPr>
          <p:nvPr/>
        </p:nvPicPr>
        <p:blipFill>
          <a:blip r:embed="rId5" cstate="print"/>
          <a:stretch>
            <a:fillRect/>
          </a:stretch>
        </p:blipFill>
        <p:spPr>
          <a:xfrm>
            <a:off x="213360" y="4450080"/>
            <a:ext cx="1752600" cy="17526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linds(horizontal)">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What is Quality?</a:t>
            </a:r>
          </a:p>
        </p:txBody>
      </p:sp>
      <p:grpSp>
        <p:nvGrpSpPr>
          <p:cNvPr id="81" name="Group 80"/>
          <p:cNvGrpSpPr/>
          <p:nvPr/>
        </p:nvGrpSpPr>
        <p:grpSpPr>
          <a:xfrm>
            <a:off x="682906" y="1330703"/>
            <a:ext cx="8883369" cy="2522049"/>
            <a:chOff x="339726" y="1964490"/>
            <a:chExt cx="9226550" cy="3636407"/>
          </a:xfrm>
        </p:grpSpPr>
        <p:grpSp>
          <p:nvGrpSpPr>
            <p:cNvPr id="82" name="Group 189"/>
            <p:cNvGrpSpPr/>
            <p:nvPr/>
          </p:nvGrpSpPr>
          <p:grpSpPr>
            <a:xfrm>
              <a:off x="339726" y="3855410"/>
              <a:ext cx="9226550" cy="1745487"/>
              <a:chOff x="313593" y="2891557"/>
              <a:chExt cx="8516815" cy="1309115"/>
            </a:xfrm>
          </p:grpSpPr>
          <p:sp>
            <p:nvSpPr>
              <p:cNvPr id="137" name="Rounded Rectangle 136"/>
              <p:cNvSpPr/>
              <p:nvPr/>
            </p:nvSpPr>
            <p:spPr bwMode="auto">
              <a:xfrm>
                <a:off x="313593" y="2891557"/>
                <a:ext cx="8516815" cy="1309115"/>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smtClean="0">
                  <a:solidFill>
                    <a:schemeClr val="tx1"/>
                  </a:solidFill>
                  <a:latin typeface="Calibri" pitchFamily="34" charset="0"/>
                  <a:cs typeface="Arial" charset="0"/>
                </a:endParaRPr>
              </a:p>
            </p:txBody>
          </p:sp>
          <p:grpSp>
            <p:nvGrpSpPr>
              <p:cNvPr id="138" name="Group 141"/>
              <p:cNvGrpSpPr/>
              <p:nvPr/>
            </p:nvGrpSpPr>
            <p:grpSpPr>
              <a:xfrm>
                <a:off x="450363" y="2973558"/>
                <a:ext cx="2267585" cy="1156716"/>
                <a:chOff x="450363" y="2973558"/>
                <a:chExt cx="2267585" cy="1156716"/>
              </a:xfrm>
            </p:grpSpPr>
            <p:sp>
              <p:nvSpPr>
                <p:cNvPr id="139" name="Content Placeholder 2"/>
                <p:cNvSpPr txBox="1">
                  <a:spLocks/>
                </p:cNvSpPr>
                <p:nvPr/>
              </p:nvSpPr>
              <p:spPr bwMode="auto">
                <a:xfrm>
                  <a:off x="450363" y="2973558"/>
                  <a:ext cx="2267585" cy="1156716"/>
                </a:xfrm>
                <a:prstGeom prst="roundRect">
                  <a:avLst>
                    <a:gd name="adj" fmla="val 12298"/>
                  </a:avLst>
                </a:prstGeom>
                <a:solidFill>
                  <a:schemeClr val="accent5">
                    <a:lumMod val="20000"/>
                    <a:lumOff val="80000"/>
                  </a:schemeClr>
                </a:solidFill>
                <a:ln w="19050">
                  <a:solidFill>
                    <a:schemeClr val="tx1"/>
                  </a:solidFill>
                </a:ln>
              </p:spPr>
              <p:style>
                <a:lnRef idx="1">
                  <a:schemeClr val="accent1"/>
                </a:lnRef>
                <a:fillRef idx="2">
                  <a:schemeClr val="accent1"/>
                </a:fillRef>
                <a:effectRef idx="1">
                  <a:schemeClr val="accent1"/>
                </a:effectRef>
                <a:fontRef idx="minor">
                  <a:schemeClr val="dk1"/>
                </a:fontRef>
              </p:style>
              <p:txBody>
                <a:bodyPr wrap="none" anchor="b">
                  <a:normAutofit/>
                </a:bodyPr>
                <a:lstStyle/>
                <a:p>
                  <a:pPr algn="ctr">
                    <a:spcBef>
                      <a:spcPct val="20000"/>
                    </a:spcBef>
                    <a:buClr>
                      <a:schemeClr val="tx2">
                        <a:lumMod val="75000"/>
                      </a:schemeClr>
                    </a:buClr>
                    <a:defRPr/>
                  </a:pPr>
                  <a:r>
                    <a:rPr lang="en-GB" sz="1800" b="1" dirty="0" smtClean="0">
                      <a:solidFill>
                        <a:srgbClr val="000000"/>
                      </a:solidFill>
                      <a:latin typeface="Calibri" pitchFamily="34" charset="0"/>
                      <a:cs typeface="Arial" pitchFamily="34" charset="0"/>
                    </a:rPr>
                    <a:t>Quality has </a:t>
                  </a:r>
                  <a:br>
                    <a:rPr lang="en-GB" sz="1800" b="1" dirty="0" smtClean="0">
                      <a:solidFill>
                        <a:srgbClr val="000000"/>
                      </a:solidFill>
                      <a:latin typeface="Calibri" pitchFamily="34" charset="0"/>
                      <a:cs typeface="Arial" pitchFamily="34" charset="0"/>
                    </a:rPr>
                  </a:br>
                  <a:r>
                    <a:rPr lang="en-GB" sz="1800" b="1" dirty="0" smtClean="0">
                      <a:solidFill>
                        <a:srgbClr val="000000"/>
                      </a:solidFill>
                      <a:latin typeface="Calibri" pitchFamily="34" charset="0"/>
                      <a:cs typeface="Arial" pitchFamily="34" charset="0"/>
                    </a:rPr>
                    <a:t>attributes such as </a:t>
                  </a:r>
                  <a:endParaRPr lang="en-GB" sz="1800" b="1" dirty="0">
                    <a:solidFill>
                      <a:srgbClr val="000000"/>
                    </a:solidFill>
                    <a:latin typeface="Calibri" pitchFamily="34" charset="0"/>
                    <a:cs typeface="Arial" pitchFamily="34" charset="0"/>
                  </a:endParaRPr>
                </a:p>
              </p:txBody>
            </p:sp>
            <p:grpSp>
              <p:nvGrpSpPr>
                <p:cNvPr id="140" name="Group 121"/>
                <p:cNvGrpSpPr/>
                <p:nvPr/>
              </p:nvGrpSpPr>
              <p:grpSpPr>
                <a:xfrm>
                  <a:off x="1290652" y="3029068"/>
                  <a:ext cx="587010" cy="584884"/>
                  <a:chOff x="1319904" y="4046880"/>
                  <a:chExt cx="792532" cy="779845"/>
                </a:xfrm>
              </p:grpSpPr>
              <p:sp>
                <p:nvSpPr>
                  <p:cNvPr id="141" name="Freeform 996"/>
                  <p:cNvSpPr>
                    <a:spLocks/>
                  </p:cNvSpPr>
                  <p:nvPr/>
                </p:nvSpPr>
                <p:spPr bwMode="auto">
                  <a:xfrm>
                    <a:off x="1402867" y="4236676"/>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2" name="Freeform 997"/>
                  <p:cNvSpPr>
                    <a:spLocks/>
                  </p:cNvSpPr>
                  <p:nvPr/>
                </p:nvSpPr>
                <p:spPr bwMode="auto">
                  <a:xfrm>
                    <a:off x="1402867" y="4236677"/>
                    <a:ext cx="613918" cy="590048"/>
                  </a:xfrm>
                  <a:custGeom>
                    <a:avLst/>
                    <a:gdLst>
                      <a:gd name="T0" fmla="*/ 721975 w 343"/>
                      <a:gd name="T1" fmla="*/ 585482 h 327"/>
                      <a:gd name="T2" fmla="*/ 919936 w 343"/>
                      <a:gd name="T3" fmla="*/ 445665 h 327"/>
                      <a:gd name="T4" fmla="*/ 876268 w 343"/>
                      <a:gd name="T5" fmla="*/ 323326 h 327"/>
                      <a:gd name="T6" fmla="*/ 643373 w 343"/>
                      <a:gd name="T7" fmla="*/ 323326 h 327"/>
                      <a:gd name="T8" fmla="*/ 561860 w 343"/>
                      <a:gd name="T9" fmla="*/ 96124 h 327"/>
                      <a:gd name="T10" fmla="*/ 439590 w 343"/>
                      <a:gd name="T11" fmla="*/ 96124 h 327"/>
                      <a:gd name="T12" fmla="*/ 358076 w 343"/>
                      <a:gd name="T13" fmla="*/ 323326 h 327"/>
                      <a:gd name="T14" fmla="*/ 125181 w 343"/>
                      <a:gd name="T15" fmla="*/ 323326 h 327"/>
                      <a:gd name="T16" fmla="*/ 81513 w 343"/>
                      <a:gd name="T17" fmla="*/ 445665 h 327"/>
                      <a:gd name="T18" fmla="*/ 270741 w 343"/>
                      <a:gd name="T19" fmla="*/ 585482 h 327"/>
                      <a:gd name="T20" fmla="*/ 203783 w 343"/>
                      <a:gd name="T21" fmla="*/ 812684 h 327"/>
                      <a:gd name="T22" fmla="*/ 305675 w 343"/>
                      <a:gd name="T23" fmla="*/ 891330 h 327"/>
                      <a:gd name="T24" fmla="*/ 497813 w 343"/>
                      <a:gd name="T25" fmla="*/ 754427 h 327"/>
                      <a:gd name="T26" fmla="*/ 692863 w 343"/>
                      <a:gd name="T27" fmla="*/ 891330 h 327"/>
                      <a:gd name="T28" fmla="*/ 794755 w 343"/>
                      <a:gd name="T29" fmla="*/ 812684 h 327"/>
                      <a:gd name="T30" fmla="*/ 765643 w 343"/>
                      <a:gd name="T31" fmla="*/ 725298 h 3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3"/>
                      <a:gd name="T49" fmla="*/ 0 h 327"/>
                      <a:gd name="T50" fmla="*/ 343 w 343"/>
                      <a:gd name="T51" fmla="*/ 327 h 3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3" h="327">
                        <a:moveTo>
                          <a:pt x="248" y="201"/>
                        </a:moveTo>
                        <a:cubicBezTo>
                          <a:pt x="316" y="153"/>
                          <a:pt x="316" y="153"/>
                          <a:pt x="316" y="153"/>
                        </a:cubicBezTo>
                        <a:cubicBezTo>
                          <a:pt x="343" y="131"/>
                          <a:pt x="336" y="113"/>
                          <a:pt x="301" y="111"/>
                        </a:cubicBezTo>
                        <a:cubicBezTo>
                          <a:pt x="221" y="111"/>
                          <a:pt x="221" y="111"/>
                          <a:pt x="221" y="111"/>
                        </a:cubicBezTo>
                        <a:cubicBezTo>
                          <a:pt x="193" y="33"/>
                          <a:pt x="193" y="33"/>
                          <a:pt x="193" y="33"/>
                        </a:cubicBezTo>
                        <a:cubicBezTo>
                          <a:pt x="181" y="0"/>
                          <a:pt x="161" y="0"/>
                          <a:pt x="151" y="33"/>
                        </a:cubicBezTo>
                        <a:cubicBezTo>
                          <a:pt x="123" y="111"/>
                          <a:pt x="123" y="111"/>
                          <a:pt x="123" y="111"/>
                        </a:cubicBezTo>
                        <a:cubicBezTo>
                          <a:pt x="43" y="111"/>
                          <a:pt x="43" y="111"/>
                          <a:pt x="43" y="111"/>
                        </a:cubicBezTo>
                        <a:cubicBezTo>
                          <a:pt x="5" y="113"/>
                          <a:pt x="0" y="131"/>
                          <a:pt x="28" y="153"/>
                        </a:cubicBezTo>
                        <a:cubicBezTo>
                          <a:pt x="93" y="201"/>
                          <a:pt x="93" y="201"/>
                          <a:pt x="93" y="201"/>
                        </a:cubicBezTo>
                        <a:cubicBezTo>
                          <a:pt x="70" y="279"/>
                          <a:pt x="70" y="279"/>
                          <a:pt x="70" y="279"/>
                        </a:cubicBezTo>
                        <a:cubicBezTo>
                          <a:pt x="60" y="314"/>
                          <a:pt x="75" y="327"/>
                          <a:pt x="105" y="306"/>
                        </a:cubicBezTo>
                        <a:cubicBezTo>
                          <a:pt x="171" y="259"/>
                          <a:pt x="171" y="259"/>
                          <a:pt x="171" y="259"/>
                        </a:cubicBezTo>
                        <a:cubicBezTo>
                          <a:pt x="238" y="306"/>
                          <a:pt x="238" y="306"/>
                          <a:pt x="238" y="306"/>
                        </a:cubicBezTo>
                        <a:cubicBezTo>
                          <a:pt x="268" y="327"/>
                          <a:pt x="283" y="314"/>
                          <a:pt x="273" y="279"/>
                        </a:cubicBezTo>
                        <a:cubicBezTo>
                          <a:pt x="263" y="249"/>
                          <a:pt x="263" y="249"/>
                          <a:pt x="263" y="249"/>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3" name="Freeform 998"/>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4" name="Freeform 999"/>
                  <p:cNvSpPr>
                    <a:spLocks/>
                  </p:cNvSpPr>
                  <p:nvPr/>
                </p:nvSpPr>
                <p:spPr bwMode="auto">
                  <a:xfrm>
                    <a:off x="1641016" y="4046880"/>
                    <a:ext cx="134691" cy="128827"/>
                  </a:xfrm>
                  <a:custGeom>
                    <a:avLst/>
                    <a:gdLst>
                      <a:gd name="T0" fmla="*/ 157734 w 75"/>
                      <a:gd name="T1" fmla="*/ 128878 h 71"/>
                      <a:gd name="T2" fmla="*/ 201549 w 75"/>
                      <a:gd name="T3" fmla="*/ 96659 h 71"/>
                      <a:gd name="T4" fmla="*/ 189865 w 75"/>
                      <a:gd name="T5" fmla="*/ 70297 h 71"/>
                      <a:gd name="T6" fmla="*/ 140208 w 75"/>
                      <a:gd name="T7" fmla="*/ 70297 h 71"/>
                      <a:gd name="T8" fmla="*/ 122682 w 75"/>
                      <a:gd name="T9" fmla="*/ 20503 h 71"/>
                      <a:gd name="T10" fmla="*/ 96393 w 75"/>
                      <a:gd name="T11" fmla="*/ 20503 h 71"/>
                      <a:gd name="T12" fmla="*/ 78867 w 75"/>
                      <a:gd name="T13" fmla="*/ 70297 h 71"/>
                      <a:gd name="T14" fmla="*/ 26289 w 75"/>
                      <a:gd name="T15" fmla="*/ 70297 h 71"/>
                      <a:gd name="T16" fmla="*/ 17526 w 75"/>
                      <a:gd name="T17" fmla="*/ 96659 h 71"/>
                      <a:gd name="T18" fmla="*/ 58420 w 75"/>
                      <a:gd name="T19" fmla="*/ 128878 h 71"/>
                      <a:gd name="T20" fmla="*/ 43815 w 75"/>
                      <a:gd name="T21" fmla="*/ 178672 h 71"/>
                      <a:gd name="T22" fmla="*/ 67183 w 75"/>
                      <a:gd name="T23" fmla="*/ 196247 h 71"/>
                      <a:gd name="T24" fmla="*/ 108077 w 75"/>
                      <a:gd name="T25" fmla="*/ 164027 h 71"/>
                      <a:gd name="T26" fmla="*/ 151892 w 75"/>
                      <a:gd name="T27" fmla="*/ 196247 h 71"/>
                      <a:gd name="T28" fmla="*/ 172339 w 75"/>
                      <a:gd name="T29" fmla="*/ 178672 h 71"/>
                      <a:gd name="T30" fmla="*/ 166497 w 75"/>
                      <a:gd name="T31" fmla="*/ 158169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5" name="Freeform 1000"/>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6" name="Freeform 1001"/>
                  <p:cNvSpPr>
                    <a:spLocks/>
                  </p:cNvSpPr>
                  <p:nvPr/>
                </p:nvSpPr>
                <p:spPr bwMode="auto">
                  <a:xfrm>
                    <a:off x="1818653" y="4094084"/>
                    <a:ext cx="133715" cy="127844"/>
                  </a:xfrm>
                  <a:custGeom>
                    <a:avLst/>
                    <a:gdLst>
                      <a:gd name="T0" fmla="*/ 156591 w 75"/>
                      <a:gd name="T1" fmla="*/ 127894 h 71"/>
                      <a:gd name="T2" fmla="*/ 200089 w 75"/>
                      <a:gd name="T3" fmla="*/ 95921 h 71"/>
                      <a:gd name="T4" fmla="*/ 191389 w 75"/>
                      <a:gd name="T5" fmla="*/ 69761 h 71"/>
                      <a:gd name="T6" fmla="*/ 139192 w 75"/>
                      <a:gd name="T7" fmla="*/ 69761 h 71"/>
                      <a:gd name="T8" fmla="*/ 121793 w 75"/>
                      <a:gd name="T9" fmla="*/ 20347 h 71"/>
                      <a:gd name="T10" fmla="*/ 95695 w 75"/>
                      <a:gd name="T11" fmla="*/ 20347 h 71"/>
                      <a:gd name="T12" fmla="*/ 78296 w 75"/>
                      <a:gd name="T13" fmla="*/ 69761 h 71"/>
                      <a:gd name="T14" fmla="*/ 26099 w 75"/>
                      <a:gd name="T15" fmla="*/ 69761 h 71"/>
                      <a:gd name="T16" fmla="*/ 17399 w 75"/>
                      <a:gd name="T17" fmla="*/ 95921 h 71"/>
                      <a:gd name="T18" fmla="*/ 57997 w 75"/>
                      <a:gd name="T19" fmla="*/ 127894 h 71"/>
                      <a:gd name="T20" fmla="*/ 43498 w 75"/>
                      <a:gd name="T21" fmla="*/ 177308 h 71"/>
                      <a:gd name="T22" fmla="*/ 66696 w 75"/>
                      <a:gd name="T23" fmla="*/ 194748 h 71"/>
                      <a:gd name="T24" fmla="*/ 107294 w 75"/>
                      <a:gd name="T25" fmla="*/ 162775 h 71"/>
                      <a:gd name="T26" fmla="*/ 150792 w 75"/>
                      <a:gd name="T27" fmla="*/ 194748 h 71"/>
                      <a:gd name="T28" fmla="*/ 173990 w 75"/>
                      <a:gd name="T29" fmla="*/ 177308 h 71"/>
                      <a:gd name="T30" fmla="*/ 165291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8"/>
                          <a:pt x="73" y="24"/>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7" name="Freeform 1002"/>
                  <p:cNvSpPr>
                    <a:spLocks/>
                  </p:cNvSpPr>
                  <p:nvPr/>
                </p:nvSpPr>
                <p:spPr bwMode="auto">
                  <a:xfrm>
                    <a:off x="1977745" y="4169805"/>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8" name="Freeform 1003"/>
                  <p:cNvSpPr>
                    <a:spLocks/>
                  </p:cNvSpPr>
                  <p:nvPr/>
                </p:nvSpPr>
                <p:spPr bwMode="auto">
                  <a:xfrm>
                    <a:off x="1977744" y="4169812"/>
                    <a:ext cx="134691" cy="127844"/>
                  </a:xfrm>
                  <a:custGeom>
                    <a:avLst/>
                    <a:gdLst>
                      <a:gd name="T0" fmla="*/ 157734 w 75"/>
                      <a:gd name="T1" fmla="*/ 127894 h 71"/>
                      <a:gd name="T2" fmla="*/ 201549 w 75"/>
                      <a:gd name="T3" fmla="*/ 98827 h 71"/>
                      <a:gd name="T4" fmla="*/ 192786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8827 h 71"/>
                      <a:gd name="T18" fmla="*/ 58420 w 75"/>
                      <a:gd name="T19" fmla="*/ 127894 h 71"/>
                      <a:gd name="T20" fmla="*/ 43815 w 75"/>
                      <a:gd name="T21" fmla="*/ 177308 h 71"/>
                      <a:gd name="T22" fmla="*/ 67183 w 75"/>
                      <a:gd name="T23" fmla="*/ 194748 h 71"/>
                      <a:gd name="T24" fmla="*/ 108077 w 75"/>
                      <a:gd name="T25" fmla="*/ 165681 h 71"/>
                      <a:gd name="T26" fmla="*/ 151892 w 75"/>
                      <a:gd name="T27" fmla="*/ 194748 h 71"/>
                      <a:gd name="T28" fmla="*/ 175260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4"/>
                          <a:pt x="69" y="34"/>
                          <a:pt x="69" y="34"/>
                        </a:cubicBezTo>
                        <a:cubicBezTo>
                          <a:pt x="75" y="29"/>
                          <a:pt x="73" y="25"/>
                          <a:pt x="66"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4"/>
                        </a:cubicBezTo>
                        <a:cubicBezTo>
                          <a:pt x="20" y="44"/>
                          <a:pt x="20" y="44"/>
                          <a:pt x="20" y="44"/>
                        </a:cubicBezTo>
                        <a:cubicBezTo>
                          <a:pt x="15" y="61"/>
                          <a:pt x="15" y="61"/>
                          <a:pt x="15" y="61"/>
                        </a:cubicBezTo>
                        <a:cubicBezTo>
                          <a:pt x="13" y="69"/>
                          <a:pt x="16" y="71"/>
                          <a:pt x="23" y="67"/>
                        </a:cubicBezTo>
                        <a:cubicBezTo>
                          <a:pt x="37" y="57"/>
                          <a:pt x="37" y="57"/>
                          <a:pt x="37" y="57"/>
                        </a:cubicBezTo>
                        <a:cubicBezTo>
                          <a:pt x="52" y="67"/>
                          <a:pt x="52" y="67"/>
                          <a:pt x="52" y="67"/>
                        </a:cubicBezTo>
                        <a:cubicBezTo>
                          <a:pt x="58" y="71"/>
                          <a:pt x="62" y="69"/>
                          <a:pt x="60"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49" name="Freeform 1004"/>
                  <p:cNvSpPr>
                    <a:spLocks/>
                  </p:cNvSpPr>
                  <p:nvPr/>
                </p:nvSpPr>
                <p:spPr bwMode="auto">
                  <a:xfrm>
                    <a:off x="1470211" y="4094091"/>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0" name="Freeform 1005"/>
                  <p:cNvSpPr>
                    <a:spLocks/>
                  </p:cNvSpPr>
                  <p:nvPr/>
                </p:nvSpPr>
                <p:spPr bwMode="auto">
                  <a:xfrm>
                    <a:off x="1470211" y="4094084"/>
                    <a:ext cx="132739" cy="127844"/>
                  </a:xfrm>
                  <a:custGeom>
                    <a:avLst/>
                    <a:gdLst>
                      <a:gd name="T0" fmla="*/ 157549 w 74"/>
                      <a:gd name="T1" fmla="*/ 127894 h 71"/>
                      <a:gd name="T2" fmla="*/ 198395 w 74"/>
                      <a:gd name="T3" fmla="*/ 95921 h 71"/>
                      <a:gd name="T4" fmla="*/ 189642 w 74"/>
                      <a:gd name="T5" fmla="*/ 69761 h 71"/>
                      <a:gd name="T6" fmla="*/ 140043 w 74"/>
                      <a:gd name="T7" fmla="*/ 69761 h 71"/>
                      <a:gd name="T8" fmla="*/ 122538 w 74"/>
                      <a:gd name="T9" fmla="*/ 20347 h 71"/>
                      <a:gd name="T10" fmla="*/ 93362 w 74"/>
                      <a:gd name="T11" fmla="*/ 20347 h 71"/>
                      <a:gd name="T12" fmla="*/ 75857 w 74"/>
                      <a:gd name="T13" fmla="*/ 69761 h 71"/>
                      <a:gd name="T14" fmla="*/ 26258 w 74"/>
                      <a:gd name="T15" fmla="*/ 69761 h 71"/>
                      <a:gd name="T16" fmla="*/ 17505 w 74"/>
                      <a:gd name="T17" fmla="*/ 95921 h 71"/>
                      <a:gd name="T18" fmla="*/ 58351 w 74"/>
                      <a:gd name="T19" fmla="*/ 127894 h 71"/>
                      <a:gd name="T20" fmla="*/ 43764 w 74"/>
                      <a:gd name="T21" fmla="*/ 177308 h 71"/>
                      <a:gd name="T22" fmla="*/ 67104 w 74"/>
                      <a:gd name="T23" fmla="*/ 194748 h 71"/>
                      <a:gd name="T24" fmla="*/ 107950 w 74"/>
                      <a:gd name="T25" fmla="*/ 162775 h 71"/>
                      <a:gd name="T26" fmla="*/ 148796 w 74"/>
                      <a:gd name="T27" fmla="*/ 194748 h 71"/>
                      <a:gd name="T28" fmla="*/ 172136 w 74"/>
                      <a:gd name="T29" fmla="*/ 177308 h 71"/>
                      <a:gd name="T30" fmla="*/ 166301 w 74"/>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71"/>
                      <a:gd name="T50" fmla="*/ 74 w 74"/>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71">
                        <a:moveTo>
                          <a:pt x="54" y="44"/>
                        </a:moveTo>
                        <a:cubicBezTo>
                          <a:pt x="68" y="33"/>
                          <a:pt x="68" y="33"/>
                          <a:pt x="68" y="33"/>
                        </a:cubicBezTo>
                        <a:cubicBezTo>
                          <a:pt x="74" y="28"/>
                          <a:pt x="73" y="24"/>
                          <a:pt x="65" y="24"/>
                        </a:cubicBezTo>
                        <a:cubicBezTo>
                          <a:pt x="48" y="24"/>
                          <a:pt x="48" y="24"/>
                          <a:pt x="48" y="24"/>
                        </a:cubicBezTo>
                        <a:cubicBezTo>
                          <a:pt x="42" y="7"/>
                          <a:pt x="42" y="7"/>
                          <a:pt x="42" y="7"/>
                        </a:cubicBezTo>
                        <a:cubicBezTo>
                          <a:pt x="39" y="0"/>
                          <a:pt x="35" y="0"/>
                          <a:pt x="32" y="7"/>
                        </a:cubicBezTo>
                        <a:cubicBezTo>
                          <a:pt x="26" y="24"/>
                          <a:pt x="26" y="24"/>
                          <a:pt x="26" y="24"/>
                        </a:cubicBezTo>
                        <a:cubicBezTo>
                          <a:pt x="9" y="24"/>
                          <a:pt x="9" y="24"/>
                          <a:pt x="9" y="24"/>
                        </a:cubicBezTo>
                        <a:cubicBezTo>
                          <a:pt x="1" y="24"/>
                          <a:pt x="0" y="28"/>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1" y="67"/>
                          <a:pt x="51" y="67"/>
                          <a:pt x="51" y="67"/>
                        </a:cubicBezTo>
                        <a:cubicBezTo>
                          <a:pt x="58" y="71"/>
                          <a:pt x="61"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1" name="Freeform 1006"/>
                  <p:cNvSpPr>
                    <a:spLocks/>
                  </p:cNvSpPr>
                  <p:nvPr/>
                </p:nvSpPr>
                <p:spPr bwMode="auto">
                  <a:xfrm>
                    <a:off x="1319905" y="4162923"/>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sp>
                <p:nvSpPr>
                  <p:cNvPr id="152" name="Freeform 1007"/>
                  <p:cNvSpPr>
                    <a:spLocks/>
                  </p:cNvSpPr>
                  <p:nvPr/>
                </p:nvSpPr>
                <p:spPr bwMode="auto">
                  <a:xfrm>
                    <a:off x="1319904" y="4162927"/>
                    <a:ext cx="134691" cy="127844"/>
                  </a:xfrm>
                  <a:custGeom>
                    <a:avLst/>
                    <a:gdLst>
                      <a:gd name="T0" fmla="*/ 157734 w 75"/>
                      <a:gd name="T1" fmla="*/ 127894 h 71"/>
                      <a:gd name="T2" fmla="*/ 201549 w 75"/>
                      <a:gd name="T3" fmla="*/ 95921 h 71"/>
                      <a:gd name="T4" fmla="*/ 189865 w 75"/>
                      <a:gd name="T5" fmla="*/ 69761 h 71"/>
                      <a:gd name="T6" fmla="*/ 140208 w 75"/>
                      <a:gd name="T7" fmla="*/ 69761 h 71"/>
                      <a:gd name="T8" fmla="*/ 122682 w 75"/>
                      <a:gd name="T9" fmla="*/ 20347 h 71"/>
                      <a:gd name="T10" fmla="*/ 96393 w 75"/>
                      <a:gd name="T11" fmla="*/ 20347 h 71"/>
                      <a:gd name="T12" fmla="*/ 78867 w 75"/>
                      <a:gd name="T13" fmla="*/ 69761 h 71"/>
                      <a:gd name="T14" fmla="*/ 26289 w 75"/>
                      <a:gd name="T15" fmla="*/ 69761 h 71"/>
                      <a:gd name="T16" fmla="*/ 17526 w 75"/>
                      <a:gd name="T17" fmla="*/ 95921 h 71"/>
                      <a:gd name="T18" fmla="*/ 58420 w 75"/>
                      <a:gd name="T19" fmla="*/ 127894 h 71"/>
                      <a:gd name="T20" fmla="*/ 43815 w 75"/>
                      <a:gd name="T21" fmla="*/ 177308 h 71"/>
                      <a:gd name="T22" fmla="*/ 67183 w 75"/>
                      <a:gd name="T23" fmla="*/ 194748 h 71"/>
                      <a:gd name="T24" fmla="*/ 108077 w 75"/>
                      <a:gd name="T25" fmla="*/ 162775 h 71"/>
                      <a:gd name="T26" fmla="*/ 151892 w 75"/>
                      <a:gd name="T27" fmla="*/ 194748 h 71"/>
                      <a:gd name="T28" fmla="*/ 172339 w 75"/>
                      <a:gd name="T29" fmla="*/ 177308 h 71"/>
                      <a:gd name="T30" fmla="*/ 166497 w 75"/>
                      <a:gd name="T31" fmla="*/ 15696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71"/>
                      <a:gd name="T50" fmla="*/ 75 w 75"/>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71">
                        <a:moveTo>
                          <a:pt x="54" y="44"/>
                        </a:moveTo>
                        <a:cubicBezTo>
                          <a:pt x="69" y="33"/>
                          <a:pt x="69" y="33"/>
                          <a:pt x="69" y="33"/>
                        </a:cubicBezTo>
                        <a:cubicBezTo>
                          <a:pt x="75" y="29"/>
                          <a:pt x="73" y="25"/>
                          <a:pt x="65" y="24"/>
                        </a:cubicBezTo>
                        <a:cubicBezTo>
                          <a:pt x="48" y="24"/>
                          <a:pt x="48" y="24"/>
                          <a:pt x="48" y="24"/>
                        </a:cubicBezTo>
                        <a:cubicBezTo>
                          <a:pt x="42" y="7"/>
                          <a:pt x="42" y="7"/>
                          <a:pt x="42" y="7"/>
                        </a:cubicBezTo>
                        <a:cubicBezTo>
                          <a:pt x="39" y="0"/>
                          <a:pt x="35" y="0"/>
                          <a:pt x="33" y="7"/>
                        </a:cubicBezTo>
                        <a:cubicBezTo>
                          <a:pt x="27" y="24"/>
                          <a:pt x="27" y="24"/>
                          <a:pt x="27" y="24"/>
                        </a:cubicBezTo>
                        <a:cubicBezTo>
                          <a:pt x="9" y="24"/>
                          <a:pt x="9" y="24"/>
                          <a:pt x="9" y="24"/>
                        </a:cubicBezTo>
                        <a:cubicBezTo>
                          <a:pt x="1" y="25"/>
                          <a:pt x="0" y="29"/>
                          <a:pt x="6" y="33"/>
                        </a:cubicBezTo>
                        <a:cubicBezTo>
                          <a:pt x="20" y="44"/>
                          <a:pt x="20" y="44"/>
                          <a:pt x="20" y="44"/>
                        </a:cubicBezTo>
                        <a:cubicBezTo>
                          <a:pt x="15" y="61"/>
                          <a:pt x="15" y="61"/>
                          <a:pt x="15" y="61"/>
                        </a:cubicBezTo>
                        <a:cubicBezTo>
                          <a:pt x="13" y="68"/>
                          <a:pt x="16" y="71"/>
                          <a:pt x="23" y="67"/>
                        </a:cubicBezTo>
                        <a:cubicBezTo>
                          <a:pt x="37" y="56"/>
                          <a:pt x="37" y="56"/>
                          <a:pt x="37" y="56"/>
                        </a:cubicBezTo>
                        <a:cubicBezTo>
                          <a:pt x="52" y="67"/>
                          <a:pt x="52" y="67"/>
                          <a:pt x="52" y="67"/>
                        </a:cubicBezTo>
                        <a:cubicBezTo>
                          <a:pt x="58" y="71"/>
                          <a:pt x="62" y="68"/>
                          <a:pt x="59" y="61"/>
                        </a:cubicBezTo>
                        <a:cubicBezTo>
                          <a:pt x="57" y="54"/>
                          <a:pt x="57" y="54"/>
                          <a:pt x="57" y="54"/>
                        </a:cubicBezTo>
                      </a:path>
                    </a:pathLst>
                  </a:custGeom>
                  <a:noFill/>
                  <a:ln w="12700" cap="rnd">
                    <a:solidFill>
                      <a:schemeClr val="accent3"/>
                    </a:solidFill>
                    <a:prstDash val="solid"/>
                    <a:round/>
                    <a:headEnd/>
                    <a:tailEnd/>
                  </a:ln>
                </p:spPr>
                <p:txBody>
                  <a:bodyPr/>
                  <a:lstStyle/>
                  <a:p>
                    <a:pPr algn="ctr"/>
                    <a:endParaRPr lang="en-GB" dirty="0">
                      <a:latin typeface="Calibri"/>
                      <a:sym typeface="Calibri"/>
                    </a:endParaRPr>
                  </a:p>
                </p:txBody>
              </p:sp>
            </p:grpSp>
          </p:grpSp>
        </p:grpSp>
        <p:grpSp>
          <p:nvGrpSpPr>
            <p:cNvPr id="83" name="Group 125"/>
            <p:cNvGrpSpPr/>
            <p:nvPr/>
          </p:nvGrpSpPr>
          <p:grpSpPr>
            <a:xfrm>
              <a:off x="339726" y="1964490"/>
              <a:ext cx="9226550" cy="1745487"/>
              <a:chOff x="339725" y="1964488"/>
              <a:chExt cx="9226550" cy="1745487"/>
            </a:xfrm>
          </p:grpSpPr>
          <p:sp>
            <p:nvSpPr>
              <p:cNvPr id="135" name="Rounded Rectangle 134"/>
              <p:cNvSpPr/>
              <p:nvPr/>
            </p:nvSpPr>
            <p:spPr bwMode="auto">
              <a:xfrm>
                <a:off x="339725" y="1964488"/>
                <a:ext cx="9226550" cy="1745487"/>
              </a:xfrm>
              <a:prstGeom prst="roundRect">
                <a:avLst>
                  <a:gd name="adj" fmla="val 13460"/>
                </a:avLst>
              </a:prstGeom>
              <a:solidFill>
                <a:schemeClr val="bg1">
                  <a:lumMod val="95000"/>
                </a:schemeClr>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457200" tIns="45720" rIns="91440" bIns="45720" numCol="1" rtlCol="0" anchor="ctr" anchorCtr="0" compatLnSpc="1">
                <a:prstTxWarp prst="textNoShape">
                  <a:avLst/>
                </a:prstTxWarp>
              </a:bodyPr>
              <a:lstStyle/>
              <a:p>
                <a:pPr defTabSz="914296" eaLnBrk="0" hangingPunct="0"/>
                <a:endParaRPr lang="en-GB" sz="2000" dirty="0" smtClean="0">
                  <a:solidFill>
                    <a:schemeClr val="tx1"/>
                  </a:solidFill>
                  <a:latin typeface="Calibri" pitchFamily="34" charset="0"/>
                  <a:cs typeface="Arial" charset="0"/>
                </a:endParaRPr>
              </a:p>
            </p:txBody>
          </p:sp>
          <p:sp>
            <p:nvSpPr>
              <p:cNvPr id="136" name="Rounded Rectangle 135"/>
              <p:cNvSpPr/>
              <p:nvPr/>
            </p:nvSpPr>
            <p:spPr>
              <a:xfrm>
                <a:off x="502761" y="2097377"/>
                <a:ext cx="8900479" cy="579897"/>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124433" tIns="124433" rIns="124433" bIns="124433" numCol="1" spcCol="1270" anchor="ctr" anchorCtr="0">
                <a:noAutofit/>
              </a:bodyPr>
              <a:lstStyle/>
              <a:p>
                <a:pPr algn="ctr" defTabSz="1244458">
                  <a:lnSpc>
                    <a:spcPct val="90000"/>
                  </a:lnSpc>
                  <a:spcAft>
                    <a:spcPct val="35000"/>
                  </a:spcAft>
                </a:pPr>
                <a:r>
                  <a:rPr lang="en-GB" sz="2300" dirty="0" smtClean="0">
                    <a:latin typeface="Calibri" pitchFamily="34" charset="0"/>
                  </a:rPr>
                  <a:t>Two Views of Quality</a:t>
                </a:r>
                <a:endParaRPr lang="en-GB" sz="2300" dirty="0">
                  <a:latin typeface="Calibri" pitchFamily="34" charset="0"/>
                </a:endParaRPr>
              </a:p>
            </p:txBody>
          </p:sp>
        </p:grpSp>
        <p:grpSp>
          <p:nvGrpSpPr>
            <p:cNvPr id="84" name="Group 35"/>
            <p:cNvGrpSpPr/>
            <p:nvPr/>
          </p:nvGrpSpPr>
          <p:grpSpPr>
            <a:xfrm>
              <a:off x="589556" y="2765116"/>
              <a:ext cx="4179886" cy="811513"/>
              <a:chOff x="337328" y="3359872"/>
              <a:chExt cx="4402104" cy="848233"/>
            </a:xfrm>
          </p:grpSpPr>
          <p:sp>
            <p:nvSpPr>
              <p:cNvPr id="133" name="Rounded Rectangle 132"/>
              <p:cNvSpPr/>
              <p:nvPr/>
            </p:nvSpPr>
            <p:spPr>
              <a:xfrm>
                <a:off x="398106" y="3527732"/>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none" lIns="90143" tIns="90143" rIns="90143" bIns="90143" numCol="1" spcCol="1270" anchor="ctr" anchorCtr="0">
                <a:noAutofit/>
              </a:bodyPr>
              <a:lstStyle/>
              <a:p>
                <a:pPr algn="ctr" defTabSz="844455">
                  <a:lnSpc>
                    <a:spcPct val="90000"/>
                  </a:lnSpc>
                  <a:spcAft>
                    <a:spcPct val="35000"/>
                  </a:spcAft>
                </a:pPr>
                <a:r>
                  <a:rPr lang="en-GB" sz="2000" dirty="0" smtClean="0">
                    <a:latin typeface="Calibri" pitchFamily="34" charset="0"/>
                  </a:rPr>
                  <a:t>Producer’s View: </a:t>
                </a:r>
                <a:br>
                  <a:rPr lang="en-GB" sz="2000" dirty="0" smtClean="0">
                    <a:latin typeface="Calibri" pitchFamily="34" charset="0"/>
                  </a:rPr>
                </a:br>
                <a:r>
                  <a:rPr lang="en-GB" sz="2000" dirty="0" smtClean="0">
                    <a:latin typeface="Calibri" pitchFamily="34" charset="0"/>
                  </a:rPr>
                  <a:t>Meeting Requirements</a:t>
                </a:r>
                <a:endParaRPr lang="en-GB" sz="2000" dirty="0">
                  <a:latin typeface="Calibri" pitchFamily="34" charset="0"/>
                </a:endParaRPr>
              </a:p>
            </p:txBody>
          </p:sp>
          <p:sp>
            <p:nvSpPr>
              <p:cNvPr id="134" name="Oval 133"/>
              <p:cNvSpPr/>
              <p:nvPr/>
            </p:nvSpPr>
            <p:spPr>
              <a:xfrm>
                <a:off x="337328" y="3359872"/>
                <a:ext cx="312979" cy="38231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p>
                <a:pPr algn="ctr" defTabSz="714293">
                  <a:lnSpc>
                    <a:spcPct val="90000"/>
                  </a:lnSpc>
                  <a:buClr>
                    <a:schemeClr val="tx2"/>
                  </a:buClr>
                </a:pPr>
                <a:r>
                  <a:rPr lang="en-GB" sz="1600" b="1" dirty="0" smtClean="0">
                    <a:solidFill>
                      <a:schemeClr val="tx1"/>
                    </a:solidFill>
                    <a:latin typeface="Calibri"/>
                    <a:sym typeface="Calibri"/>
                  </a:rPr>
                  <a:t>1</a:t>
                </a:r>
              </a:p>
            </p:txBody>
          </p:sp>
        </p:grpSp>
        <p:grpSp>
          <p:nvGrpSpPr>
            <p:cNvPr id="85" name="Group 34"/>
            <p:cNvGrpSpPr/>
            <p:nvPr/>
          </p:nvGrpSpPr>
          <p:grpSpPr>
            <a:xfrm>
              <a:off x="5163117" y="2765115"/>
              <a:ext cx="4153330" cy="811971"/>
              <a:chOff x="5327563" y="3359873"/>
              <a:chExt cx="4374136" cy="848713"/>
            </a:xfrm>
          </p:grpSpPr>
          <p:sp>
            <p:nvSpPr>
              <p:cNvPr id="131" name="Rounded Rectangle 130"/>
              <p:cNvSpPr/>
              <p:nvPr/>
            </p:nvSpPr>
            <p:spPr>
              <a:xfrm>
                <a:off x="5360373" y="3528213"/>
                <a:ext cx="4341326" cy="680373"/>
              </a:xfrm>
              <a:prstGeom prst="roundRect">
                <a:avLst/>
              </a:prstGeom>
              <a:ln/>
            </p:spPr>
            <p:style>
              <a:lnRef idx="1">
                <a:schemeClr val="dk1"/>
              </a:lnRef>
              <a:fillRef idx="3">
                <a:schemeClr val="dk1"/>
              </a:fillRef>
              <a:effectRef idx="2">
                <a:schemeClr val="dk1"/>
              </a:effectRef>
              <a:fontRef idx="minor">
                <a:schemeClr val="lt1"/>
              </a:fontRef>
            </p:style>
            <p:txBody>
              <a:bodyPr spcFirstLastPara="0" vert="horz" wrap="square" lIns="90143" tIns="90143" rIns="90143" bIns="90143" numCol="1" spcCol="1270" anchor="ctr" anchorCtr="0">
                <a:noAutofit/>
              </a:bodyPr>
              <a:lstStyle/>
              <a:p>
                <a:pPr algn="ctr" defTabSz="844455">
                  <a:lnSpc>
                    <a:spcPct val="90000"/>
                  </a:lnSpc>
                  <a:spcAft>
                    <a:spcPct val="35000"/>
                  </a:spcAft>
                </a:pPr>
                <a:r>
                  <a:rPr lang="en-GB" sz="2000" dirty="0" smtClean="0">
                    <a:latin typeface="Calibri" pitchFamily="34" charset="0"/>
                  </a:rPr>
                  <a:t>Customer’s View: </a:t>
                </a:r>
                <a:br>
                  <a:rPr lang="en-GB" sz="2000" dirty="0" smtClean="0">
                    <a:latin typeface="Calibri" pitchFamily="34" charset="0"/>
                  </a:rPr>
                </a:br>
                <a:r>
                  <a:rPr lang="en-GB" sz="2000" dirty="0" smtClean="0">
                    <a:latin typeface="Calibri" pitchFamily="34" charset="0"/>
                  </a:rPr>
                  <a:t>Fit for Use</a:t>
                </a:r>
                <a:endParaRPr lang="en-GB" sz="2000" dirty="0">
                  <a:latin typeface="Calibri" pitchFamily="34" charset="0"/>
                </a:endParaRPr>
              </a:p>
            </p:txBody>
          </p:sp>
          <p:sp>
            <p:nvSpPr>
              <p:cNvPr id="132" name="Oval 31"/>
              <p:cNvSpPr>
                <a:spLocks/>
              </p:cNvSpPr>
              <p:nvPr>
                <p:custDataLst>
                  <p:tags r:id="rId1"/>
                </p:custDataLst>
              </p:nvPr>
            </p:nvSpPr>
            <p:spPr>
              <a:xfrm>
                <a:off x="5327563" y="3359873"/>
                <a:ext cx="312979" cy="382311"/>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lgn="ctr" defTabSz="714293"/>
                <a:r>
                  <a:rPr lang="en-GB" b="1" dirty="0" smtClean="0">
                    <a:latin typeface="Calibri"/>
                    <a:sym typeface="Calibri"/>
                  </a:rPr>
                  <a:t>2</a:t>
                </a:r>
              </a:p>
            </p:txBody>
          </p:sp>
        </p:grpSp>
        <p:grpSp>
          <p:nvGrpSpPr>
            <p:cNvPr id="86" name="Group 140"/>
            <p:cNvGrpSpPr/>
            <p:nvPr/>
          </p:nvGrpSpPr>
          <p:grpSpPr>
            <a:xfrm>
              <a:off x="3096021" y="3964744"/>
              <a:ext cx="1466838" cy="702173"/>
              <a:chOff x="2857866" y="2973558"/>
              <a:chExt cx="1354004" cy="526630"/>
            </a:xfrm>
          </p:grpSpPr>
          <p:sp>
            <p:nvSpPr>
              <p:cNvPr id="126" name="Rounded Rectangle 125"/>
              <p:cNvSpPr/>
              <p:nvPr/>
            </p:nvSpPr>
            <p:spPr>
              <a:xfrm>
                <a:off x="2857866" y="2973558"/>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Capability</a:t>
                </a:r>
                <a:endParaRPr lang="en-GB" sz="1600" b="1" dirty="0">
                  <a:solidFill>
                    <a:srgbClr val="000000"/>
                  </a:solidFill>
                  <a:latin typeface="Calibri" pitchFamily="34" charset="0"/>
                  <a:cs typeface="Arial" pitchFamily="34" charset="0"/>
                </a:endParaRPr>
              </a:p>
            </p:txBody>
          </p:sp>
          <p:grpSp>
            <p:nvGrpSpPr>
              <p:cNvPr id="127" name="Group 126"/>
              <p:cNvGrpSpPr/>
              <p:nvPr/>
            </p:nvGrpSpPr>
            <p:grpSpPr>
              <a:xfrm>
                <a:off x="3407308" y="2991689"/>
                <a:ext cx="255122" cy="245374"/>
                <a:chOff x="3657221" y="4018396"/>
                <a:chExt cx="344444" cy="327166"/>
              </a:xfrm>
            </p:grpSpPr>
            <p:sp>
              <p:nvSpPr>
                <p:cNvPr id="128" name="Freeform 412"/>
                <p:cNvSpPr>
                  <a:spLocks/>
                </p:cNvSpPr>
                <p:nvPr/>
              </p:nvSpPr>
              <p:spPr bwMode="auto">
                <a:xfrm>
                  <a:off x="3657221" y="4018396"/>
                  <a:ext cx="262497" cy="327166"/>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29" name="Freeform 413"/>
                <p:cNvSpPr>
                  <a:spLocks/>
                </p:cNvSpPr>
                <p:nvPr/>
              </p:nvSpPr>
              <p:spPr bwMode="auto">
                <a:xfrm>
                  <a:off x="3921247" y="4149867"/>
                  <a:ext cx="80418" cy="195687"/>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sp>
              <p:nvSpPr>
                <p:cNvPr id="130" name="Oval 414"/>
                <p:cNvSpPr>
                  <a:spLocks noChangeArrowheads="1"/>
                </p:cNvSpPr>
                <p:nvPr/>
              </p:nvSpPr>
              <p:spPr bwMode="auto">
                <a:xfrm>
                  <a:off x="3951584" y="4296626"/>
                  <a:ext cx="27312" cy="30576"/>
                </a:xfrm>
                <a:prstGeom prst="ellipse">
                  <a:avLst/>
                </a:prstGeom>
                <a:noFill/>
                <a:ln w="12700" cap="rnd">
                  <a:solidFill>
                    <a:schemeClr val="accent3"/>
                  </a:solidFill>
                  <a:prstDash val="solid"/>
                  <a:round/>
                  <a:headEnd/>
                  <a:tailEnd/>
                </a:ln>
              </p:spPr>
              <p:txBody>
                <a:bodyPr vert="horz" wrap="square" lIns="91440" tIns="45720" rIns="91440" bIns="45720" numCol="1" anchor="b" anchorCtr="0" compatLnSpc="1">
                  <a:prstTxWarp prst="textNoShape">
                    <a:avLst/>
                  </a:prstTxWarp>
                </a:bodyPr>
                <a:lstStyle/>
                <a:p>
                  <a:endParaRPr lang="en-GB" sz="700" dirty="0">
                    <a:latin typeface="Calibri"/>
                    <a:sym typeface="Calibri"/>
                  </a:endParaRPr>
                </a:p>
              </p:txBody>
            </p:sp>
          </p:grpSp>
        </p:grpSp>
        <p:grpSp>
          <p:nvGrpSpPr>
            <p:cNvPr id="87" name="Group 142"/>
            <p:cNvGrpSpPr/>
            <p:nvPr/>
          </p:nvGrpSpPr>
          <p:grpSpPr>
            <a:xfrm>
              <a:off x="4714437" y="3964744"/>
              <a:ext cx="1466838" cy="702173"/>
              <a:chOff x="4351788" y="2973558"/>
              <a:chExt cx="1354004" cy="526630"/>
            </a:xfrm>
          </p:grpSpPr>
          <p:sp>
            <p:nvSpPr>
              <p:cNvPr id="120" name="Rounded Rectangle 119"/>
              <p:cNvSpPr/>
              <p:nvPr/>
            </p:nvSpPr>
            <p:spPr>
              <a:xfrm>
                <a:off x="4351788" y="2973558"/>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Usability</a:t>
                </a:r>
                <a:endParaRPr lang="en-GB" sz="1600" b="1" dirty="0">
                  <a:solidFill>
                    <a:srgbClr val="000000"/>
                  </a:solidFill>
                  <a:latin typeface="Calibri" pitchFamily="34" charset="0"/>
                  <a:cs typeface="Arial" pitchFamily="34" charset="0"/>
                </a:endParaRPr>
              </a:p>
            </p:txBody>
          </p:sp>
          <p:grpSp>
            <p:nvGrpSpPr>
              <p:cNvPr id="121" name="Group 127"/>
              <p:cNvGrpSpPr/>
              <p:nvPr/>
            </p:nvGrpSpPr>
            <p:grpSpPr>
              <a:xfrm>
                <a:off x="4872194" y="3003590"/>
                <a:ext cx="313188" cy="237284"/>
                <a:chOff x="5236439" y="4029170"/>
                <a:chExt cx="422840" cy="316379"/>
              </a:xfrm>
            </p:grpSpPr>
            <p:sp>
              <p:nvSpPr>
                <p:cNvPr id="122" name="Freeform 546"/>
                <p:cNvSpPr>
                  <a:spLocks/>
                </p:cNvSpPr>
                <p:nvPr/>
              </p:nvSpPr>
              <p:spPr bwMode="auto">
                <a:xfrm>
                  <a:off x="5307809" y="4158598"/>
                  <a:ext cx="351470" cy="185154"/>
                </a:xfrm>
                <a:custGeom>
                  <a:avLst/>
                  <a:gdLst/>
                  <a:ahLst/>
                  <a:cxnLst>
                    <a:cxn ang="0">
                      <a:pos x="51" y="0"/>
                    </a:cxn>
                    <a:cxn ang="0">
                      <a:pos x="65" y="22"/>
                    </a:cxn>
                    <a:cxn ang="0">
                      <a:pos x="19" y="28"/>
                    </a:cxn>
                    <a:cxn ang="0">
                      <a:pos x="16" y="54"/>
                    </a:cxn>
                    <a:cxn ang="0">
                      <a:pos x="25" y="55"/>
                    </a:cxn>
                    <a:cxn ang="0">
                      <a:pos x="63" y="58"/>
                    </a:cxn>
                    <a:cxn ang="0">
                      <a:pos x="106" y="80"/>
                    </a:cxn>
                    <a:cxn ang="0">
                      <a:pos x="161" y="81"/>
                    </a:cxn>
                  </a:cxnLst>
                  <a:rect l="0" t="0" r="r" b="b"/>
                  <a:pathLst>
                    <a:path w="161" h="84">
                      <a:moveTo>
                        <a:pt x="51" y="0"/>
                      </a:moveTo>
                      <a:cubicBezTo>
                        <a:pt x="58" y="6"/>
                        <a:pt x="65" y="17"/>
                        <a:pt x="65" y="22"/>
                      </a:cubicBezTo>
                      <a:cubicBezTo>
                        <a:pt x="65" y="27"/>
                        <a:pt x="54" y="33"/>
                        <a:pt x="19" y="28"/>
                      </a:cubicBezTo>
                      <a:cubicBezTo>
                        <a:pt x="3" y="25"/>
                        <a:pt x="0" y="51"/>
                        <a:pt x="16" y="54"/>
                      </a:cubicBezTo>
                      <a:cubicBezTo>
                        <a:pt x="18" y="55"/>
                        <a:pt x="23" y="55"/>
                        <a:pt x="25" y="55"/>
                      </a:cubicBezTo>
                      <a:cubicBezTo>
                        <a:pt x="44" y="55"/>
                        <a:pt x="59" y="55"/>
                        <a:pt x="63" y="58"/>
                      </a:cubicBezTo>
                      <a:cubicBezTo>
                        <a:pt x="66" y="62"/>
                        <a:pt x="86" y="84"/>
                        <a:pt x="106" y="80"/>
                      </a:cubicBezTo>
                      <a:cubicBezTo>
                        <a:pt x="130" y="75"/>
                        <a:pt x="149" y="78"/>
                        <a:pt x="161" y="8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3" name="Freeform 547"/>
                <p:cNvSpPr>
                  <a:spLocks/>
                </p:cNvSpPr>
                <p:nvPr/>
              </p:nvSpPr>
              <p:spPr bwMode="auto">
                <a:xfrm>
                  <a:off x="5252503" y="4075907"/>
                  <a:ext cx="164137" cy="188750"/>
                </a:xfrm>
                <a:custGeom>
                  <a:avLst/>
                  <a:gdLst/>
                  <a:ahLst/>
                  <a:cxnLst>
                    <a:cxn ang="0">
                      <a:pos x="76" y="0"/>
                    </a:cxn>
                    <a:cxn ang="0">
                      <a:pos x="39" y="6"/>
                    </a:cxn>
                    <a:cxn ang="0">
                      <a:pos x="20" y="32"/>
                    </a:cxn>
                    <a:cxn ang="0">
                      <a:pos x="2" y="74"/>
                    </a:cxn>
                    <a:cxn ang="0">
                      <a:pos x="2" y="83"/>
                    </a:cxn>
                    <a:cxn ang="0">
                      <a:pos x="7" y="86"/>
                    </a:cxn>
                  </a:cxnLst>
                  <a:rect l="0" t="0" r="r" b="b"/>
                  <a:pathLst>
                    <a:path w="76" h="86">
                      <a:moveTo>
                        <a:pt x="76" y="0"/>
                      </a:moveTo>
                      <a:cubicBezTo>
                        <a:pt x="64" y="2"/>
                        <a:pt x="41" y="6"/>
                        <a:pt x="39" y="6"/>
                      </a:cubicBezTo>
                      <a:cubicBezTo>
                        <a:pt x="37" y="6"/>
                        <a:pt x="25" y="24"/>
                        <a:pt x="20" y="32"/>
                      </a:cubicBezTo>
                      <a:cubicBezTo>
                        <a:pt x="19" y="35"/>
                        <a:pt x="2" y="74"/>
                        <a:pt x="2" y="74"/>
                      </a:cubicBezTo>
                      <a:cubicBezTo>
                        <a:pt x="1" y="76"/>
                        <a:pt x="0" y="81"/>
                        <a:pt x="2" y="83"/>
                      </a:cubicBezTo>
                      <a:cubicBezTo>
                        <a:pt x="3" y="85"/>
                        <a:pt x="7" y="86"/>
                        <a:pt x="7"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4" name="Freeform 548"/>
                <p:cNvSpPr>
                  <a:spLocks/>
                </p:cNvSpPr>
                <p:nvPr/>
              </p:nvSpPr>
              <p:spPr bwMode="auto">
                <a:xfrm>
                  <a:off x="5452322" y="4081301"/>
                  <a:ext cx="206956" cy="147404"/>
                </a:xfrm>
                <a:custGeom>
                  <a:avLst/>
                  <a:gdLst/>
                  <a:ahLst/>
                  <a:cxnLst>
                    <a:cxn ang="0">
                      <a:pos x="95" y="65"/>
                    </a:cxn>
                    <a:cxn ang="0">
                      <a:pos x="70" y="64"/>
                    </a:cxn>
                    <a:cxn ang="0">
                      <a:pos x="63" y="58"/>
                    </a:cxn>
                    <a:cxn ang="0">
                      <a:pos x="24" y="7"/>
                    </a:cxn>
                    <a:cxn ang="0">
                      <a:pos x="16" y="3"/>
                    </a:cxn>
                    <a:cxn ang="0">
                      <a:pos x="0" y="0"/>
                    </a:cxn>
                  </a:cxnLst>
                  <a:rect l="0" t="0" r="r" b="b"/>
                  <a:pathLst>
                    <a:path w="95" h="68">
                      <a:moveTo>
                        <a:pt x="95" y="65"/>
                      </a:moveTo>
                      <a:cubicBezTo>
                        <a:pt x="95" y="65"/>
                        <a:pt x="79" y="68"/>
                        <a:pt x="70" y="64"/>
                      </a:cubicBezTo>
                      <a:cubicBezTo>
                        <a:pt x="68" y="63"/>
                        <a:pt x="65" y="60"/>
                        <a:pt x="63" y="58"/>
                      </a:cubicBezTo>
                      <a:cubicBezTo>
                        <a:pt x="53" y="46"/>
                        <a:pt x="31" y="18"/>
                        <a:pt x="24" y="7"/>
                      </a:cubicBezTo>
                      <a:cubicBezTo>
                        <a:pt x="22" y="5"/>
                        <a:pt x="19" y="3"/>
                        <a:pt x="16" y="3"/>
                      </a:cubicBezTo>
                      <a:cubicBezTo>
                        <a:pt x="0" y="0"/>
                        <a:pt x="0" y="0"/>
                        <a:pt x="0" y="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sp>
              <p:nvSpPr>
                <p:cNvPr id="125" name="Freeform 549"/>
                <p:cNvSpPr>
                  <a:spLocks/>
                </p:cNvSpPr>
                <p:nvPr/>
              </p:nvSpPr>
              <p:spPr bwMode="auto">
                <a:xfrm>
                  <a:off x="5236439" y="4029170"/>
                  <a:ext cx="235502" cy="316379"/>
                </a:xfrm>
                <a:custGeom>
                  <a:avLst/>
                  <a:gdLst/>
                  <a:ahLst/>
                  <a:cxnLst>
                    <a:cxn ang="0">
                      <a:pos x="60" y="77"/>
                    </a:cxn>
                    <a:cxn ang="0">
                      <a:pos x="105" y="14"/>
                    </a:cxn>
                    <a:cxn ang="0">
                      <a:pos x="105" y="3"/>
                    </a:cxn>
                    <a:cxn ang="0">
                      <a:pos x="94" y="6"/>
                    </a:cxn>
                    <a:cxn ang="0">
                      <a:pos x="7" y="122"/>
                    </a:cxn>
                    <a:cxn ang="0">
                      <a:pos x="3" y="134"/>
                    </a:cxn>
                    <a:cxn ang="0">
                      <a:pos x="9" y="139"/>
                    </a:cxn>
                    <a:cxn ang="0">
                      <a:pos x="20" y="132"/>
                    </a:cxn>
                    <a:cxn ang="0">
                      <a:pos x="32" y="116"/>
                    </a:cxn>
                  </a:cxnLst>
                  <a:rect l="0" t="0" r="r" b="b"/>
                  <a:pathLst>
                    <a:path w="108" h="144">
                      <a:moveTo>
                        <a:pt x="60" y="77"/>
                      </a:moveTo>
                      <a:cubicBezTo>
                        <a:pt x="105" y="14"/>
                        <a:pt x="105" y="14"/>
                        <a:pt x="105" y="14"/>
                      </a:cubicBezTo>
                      <a:cubicBezTo>
                        <a:pt x="108" y="10"/>
                        <a:pt x="108" y="5"/>
                        <a:pt x="105" y="3"/>
                      </a:cubicBezTo>
                      <a:cubicBezTo>
                        <a:pt x="102" y="0"/>
                        <a:pt x="97" y="2"/>
                        <a:pt x="94" y="6"/>
                      </a:cubicBezTo>
                      <a:cubicBezTo>
                        <a:pt x="7" y="122"/>
                        <a:pt x="7" y="122"/>
                        <a:pt x="7" y="122"/>
                      </a:cubicBezTo>
                      <a:cubicBezTo>
                        <a:pt x="7" y="122"/>
                        <a:pt x="5" y="128"/>
                        <a:pt x="3" y="134"/>
                      </a:cubicBezTo>
                      <a:cubicBezTo>
                        <a:pt x="0" y="144"/>
                        <a:pt x="0" y="144"/>
                        <a:pt x="9" y="139"/>
                      </a:cubicBezTo>
                      <a:cubicBezTo>
                        <a:pt x="20" y="132"/>
                        <a:pt x="20" y="132"/>
                        <a:pt x="20" y="132"/>
                      </a:cubicBezTo>
                      <a:cubicBezTo>
                        <a:pt x="32" y="116"/>
                        <a:pt x="32" y="116"/>
                        <a:pt x="32" y="11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latin typeface="Calibri"/>
                    <a:sym typeface="Calibri"/>
                  </a:endParaRPr>
                </a:p>
              </p:txBody>
            </p:sp>
          </p:grpSp>
        </p:grpSp>
        <p:grpSp>
          <p:nvGrpSpPr>
            <p:cNvPr id="88" name="Group 138"/>
            <p:cNvGrpSpPr/>
            <p:nvPr/>
          </p:nvGrpSpPr>
          <p:grpSpPr>
            <a:xfrm>
              <a:off x="5523645" y="4804860"/>
              <a:ext cx="1466838" cy="702173"/>
              <a:chOff x="5098749" y="3603645"/>
              <a:chExt cx="1354004" cy="526630"/>
            </a:xfrm>
          </p:grpSpPr>
          <p:sp>
            <p:nvSpPr>
              <p:cNvPr id="111" name="Rounded Rectangle 110"/>
              <p:cNvSpPr/>
              <p:nvPr/>
            </p:nvSpPr>
            <p:spPr>
              <a:xfrm>
                <a:off x="5098749" y="3603645"/>
                <a:ext cx="1354004" cy="526630"/>
              </a:xfrm>
              <a:prstGeom prst="roundRect">
                <a:avLst/>
              </a:prstGeom>
              <a:solidFill>
                <a:schemeClr val="bg1"/>
              </a:solidFill>
              <a:ln w="19050">
                <a:solidFill>
                  <a:schemeClr val="tx1"/>
                </a:solidFill>
              </a:ln>
            </p:spPr>
            <p:style>
              <a:lnRef idx="1">
                <a:schemeClr val="accent2"/>
              </a:lnRef>
              <a:fillRef idx="2">
                <a:schemeClr val="accent2"/>
              </a:fillRef>
              <a:effectRef idx="1">
                <a:schemeClr val="accent2"/>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Scalability</a:t>
                </a:r>
                <a:endParaRPr lang="en-GB" sz="1600" b="1" dirty="0">
                  <a:solidFill>
                    <a:srgbClr val="000000"/>
                  </a:solidFill>
                  <a:latin typeface="Calibri" pitchFamily="34" charset="0"/>
                  <a:cs typeface="Arial" pitchFamily="34" charset="0"/>
                </a:endParaRPr>
              </a:p>
            </p:txBody>
          </p:sp>
          <p:grpSp>
            <p:nvGrpSpPr>
              <p:cNvPr id="112" name="Group 123"/>
              <p:cNvGrpSpPr/>
              <p:nvPr/>
            </p:nvGrpSpPr>
            <p:grpSpPr>
              <a:xfrm>
                <a:off x="5587871" y="3673745"/>
                <a:ext cx="375776" cy="151210"/>
                <a:chOff x="6002451" y="4898327"/>
                <a:chExt cx="507259" cy="201613"/>
              </a:xfrm>
            </p:grpSpPr>
            <p:sp>
              <p:nvSpPr>
                <p:cNvPr id="113" name="Oval 430"/>
                <p:cNvSpPr>
                  <a:spLocks noChangeArrowheads="1"/>
                </p:cNvSpPr>
                <p:nvPr/>
              </p:nvSpPr>
              <p:spPr bwMode="auto">
                <a:xfrm>
                  <a:off x="6032376" y="4928482"/>
                  <a:ext cx="129177" cy="130174"/>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4" name="Freeform 431"/>
                <p:cNvSpPr>
                  <a:spLocks/>
                </p:cNvSpPr>
                <p:nvPr/>
              </p:nvSpPr>
              <p:spPr bwMode="auto">
                <a:xfrm>
                  <a:off x="6002451" y="4898327"/>
                  <a:ext cx="192190"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5" name="Freeform 432"/>
                <p:cNvSpPr>
                  <a:spLocks/>
                </p:cNvSpPr>
                <p:nvPr/>
              </p:nvSpPr>
              <p:spPr bwMode="auto">
                <a:xfrm>
                  <a:off x="6194646" y="5011040"/>
                  <a:ext cx="315064"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6" name="Line 433"/>
                <p:cNvSpPr>
                  <a:spLocks noChangeShapeType="1"/>
                </p:cNvSpPr>
                <p:nvPr/>
              </p:nvSpPr>
              <p:spPr bwMode="auto">
                <a:xfrm>
                  <a:off x="6426218"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7" name="Line 434"/>
                <p:cNvSpPr>
                  <a:spLocks noChangeShapeType="1"/>
                </p:cNvSpPr>
                <p:nvPr/>
              </p:nvSpPr>
              <p:spPr bwMode="auto">
                <a:xfrm>
                  <a:off x="6349028" y="5015801"/>
                  <a:ext cx="1576" cy="30163"/>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8" name="Line 435"/>
                <p:cNvSpPr>
                  <a:spLocks noChangeShapeType="1"/>
                </p:cNvSpPr>
                <p:nvPr/>
              </p:nvSpPr>
              <p:spPr bwMode="auto">
                <a:xfrm>
                  <a:off x="6260793" y="5015801"/>
                  <a:ext cx="1576" cy="33339"/>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9" name="Line 436"/>
                <p:cNvSpPr>
                  <a:spLocks noChangeShapeType="1"/>
                </p:cNvSpPr>
                <p:nvPr/>
              </p:nvSpPr>
              <p:spPr bwMode="auto">
                <a:xfrm>
                  <a:off x="6455586" y="5015792"/>
                  <a:ext cx="1576" cy="158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89" name="Group 137"/>
            <p:cNvGrpSpPr/>
            <p:nvPr/>
          </p:nvGrpSpPr>
          <p:grpSpPr>
            <a:xfrm>
              <a:off x="7142062" y="4804860"/>
              <a:ext cx="1466838" cy="702173"/>
              <a:chOff x="6592673" y="3603645"/>
              <a:chExt cx="1354004" cy="526630"/>
            </a:xfrm>
          </p:grpSpPr>
          <p:sp>
            <p:nvSpPr>
              <p:cNvPr id="106" name="Rounded Rectangle 105"/>
              <p:cNvSpPr/>
              <p:nvPr/>
            </p:nvSpPr>
            <p:spPr>
              <a:xfrm>
                <a:off x="6592673" y="3603645"/>
                <a:ext cx="1354004" cy="526630"/>
              </a:xfrm>
              <a:prstGeom prst="roundRect">
                <a:avLst/>
              </a:prstGeom>
              <a:solidFill>
                <a:schemeClr val="bg1"/>
              </a:solidFill>
              <a:ln w="19050">
                <a:solidFill>
                  <a:schemeClr val="tx1"/>
                </a:solidFill>
              </a:ln>
            </p:spPr>
            <p:style>
              <a:lnRef idx="1">
                <a:schemeClr val="accent3"/>
              </a:lnRef>
              <a:fillRef idx="2">
                <a:schemeClr val="accent3"/>
              </a:fillRef>
              <a:effectRef idx="1">
                <a:schemeClr val="accent3"/>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Security</a:t>
                </a:r>
                <a:endParaRPr lang="en-GB" sz="1600" b="1" dirty="0">
                  <a:solidFill>
                    <a:srgbClr val="000000"/>
                  </a:solidFill>
                  <a:latin typeface="Calibri" pitchFamily="34" charset="0"/>
                  <a:cs typeface="Arial" pitchFamily="34" charset="0"/>
                </a:endParaRPr>
              </a:p>
            </p:txBody>
          </p:sp>
          <p:grpSp>
            <p:nvGrpSpPr>
              <p:cNvPr id="107" name="Group 122"/>
              <p:cNvGrpSpPr/>
              <p:nvPr/>
            </p:nvGrpSpPr>
            <p:grpSpPr>
              <a:xfrm>
                <a:off x="7161280" y="3627931"/>
                <a:ext cx="163460" cy="250649"/>
                <a:chOff x="7736214" y="4837294"/>
                <a:chExt cx="220688" cy="361884"/>
              </a:xfrm>
            </p:grpSpPr>
            <p:sp>
              <p:nvSpPr>
                <p:cNvPr id="108" name="Freeform 443"/>
                <p:cNvSpPr>
                  <a:spLocks/>
                </p:cNvSpPr>
                <p:nvPr/>
              </p:nvSpPr>
              <p:spPr bwMode="auto">
                <a:xfrm>
                  <a:off x="7736214" y="4837294"/>
                  <a:ext cx="220688" cy="361884"/>
                </a:xfrm>
                <a:custGeom>
                  <a:avLst/>
                  <a:gdLst/>
                  <a:ahLst/>
                  <a:cxnLst>
                    <a:cxn ang="0">
                      <a:pos x="37" y="83"/>
                    </a:cxn>
                    <a:cxn ang="0">
                      <a:pos x="100" y="83"/>
                    </a:cxn>
                    <a:cxn ang="0">
                      <a:pos x="108" y="90"/>
                    </a:cxn>
                    <a:cxn ang="0">
                      <a:pos x="108" y="171"/>
                    </a:cxn>
                    <a:cxn ang="0">
                      <a:pos x="104" y="175"/>
                    </a:cxn>
                    <a:cxn ang="0">
                      <a:pos x="6" y="175"/>
                    </a:cxn>
                    <a:cxn ang="0">
                      <a:pos x="0" y="170"/>
                    </a:cxn>
                    <a:cxn ang="0">
                      <a:pos x="0" y="89"/>
                    </a:cxn>
                    <a:cxn ang="0">
                      <a:pos x="6" y="83"/>
                    </a:cxn>
                    <a:cxn ang="0">
                      <a:pos x="28" y="83"/>
                    </a:cxn>
                    <a:cxn ang="0">
                      <a:pos x="28" y="48"/>
                    </a:cxn>
                    <a:cxn ang="0">
                      <a:pos x="54" y="23"/>
                    </a:cxn>
                    <a:cxn ang="0">
                      <a:pos x="81" y="47"/>
                    </a:cxn>
                    <a:cxn ang="0">
                      <a:pos x="81" y="68"/>
                    </a:cxn>
                    <a:cxn ang="0">
                      <a:pos x="98" y="68"/>
                    </a:cxn>
                    <a:cxn ang="0">
                      <a:pos x="98" y="47"/>
                    </a:cxn>
                    <a:cxn ang="0">
                      <a:pos x="77" y="12"/>
                    </a:cxn>
                    <a:cxn ang="0">
                      <a:pos x="28" y="14"/>
                    </a:cxn>
                    <a:cxn ang="0">
                      <a:pos x="9" y="46"/>
                    </a:cxn>
                    <a:cxn ang="0">
                      <a:pos x="9" y="68"/>
                    </a:cxn>
                  </a:cxnLst>
                  <a:rect l="0" t="0" r="r" b="b"/>
                  <a:pathLst>
                    <a:path w="108" h="175">
                      <a:moveTo>
                        <a:pt x="37" y="83"/>
                      </a:moveTo>
                      <a:cubicBezTo>
                        <a:pt x="100" y="83"/>
                        <a:pt x="100" y="83"/>
                        <a:pt x="100" y="83"/>
                      </a:cubicBezTo>
                      <a:cubicBezTo>
                        <a:pt x="104" y="83"/>
                        <a:pt x="108" y="87"/>
                        <a:pt x="108" y="90"/>
                      </a:cubicBezTo>
                      <a:cubicBezTo>
                        <a:pt x="108" y="171"/>
                        <a:pt x="108" y="171"/>
                        <a:pt x="108" y="171"/>
                      </a:cubicBezTo>
                      <a:cubicBezTo>
                        <a:pt x="108" y="174"/>
                        <a:pt x="106" y="175"/>
                        <a:pt x="104" y="175"/>
                      </a:cubicBezTo>
                      <a:cubicBezTo>
                        <a:pt x="6" y="175"/>
                        <a:pt x="6" y="175"/>
                        <a:pt x="6" y="175"/>
                      </a:cubicBezTo>
                      <a:cubicBezTo>
                        <a:pt x="3" y="175"/>
                        <a:pt x="0" y="173"/>
                        <a:pt x="0" y="170"/>
                      </a:cubicBezTo>
                      <a:cubicBezTo>
                        <a:pt x="0" y="89"/>
                        <a:pt x="0" y="89"/>
                        <a:pt x="0" y="89"/>
                      </a:cubicBezTo>
                      <a:cubicBezTo>
                        <a:pt x="0" y="85"/>
                        <a:pt x="2" y="83"/>
                        <a:pt x="6" y="83"/>
                      </a:cubicBezTo>
                      <a:cubicBezTo>
                        <a:pt x="28" y="83"/>
                        <a:pt x="28" y="83"/>
                        <a:pt x="28" y="83"/>
                      </a:cubicBezTo>
                      <a:cubicBezTo>
                        <a:pt x="28" y="48"/>
                        <a:pt x="28" y="48"/>
                        <a:pt x="28" y="48"/>
                      </a:cubicBezTo>
                      <a:cubicBezTo>
                        <a:pt x="27" y="31"/>
                        <a:pt x="44" y="23"/>
                        <a:pt x="54" y="23"/>
                      </a:cubicBezTo>
                      <a:cubicBezTo>
                        <a:pt x="66" y="23"/>
                        <a:pt x="81" y="35"/>
                        <a:pt x="81" y="47"/>
                      </a:cubicBezTo>
                      <a:cubicBezTo>
                        <a:pt x="81" y="68"/>
                        <a:pt x="81" y="68"/>
                        <a:pt x="81" y="68"/>
                      </a:cubicBezTo>
                      <a:cubicBezTo>
                        <a:pt x="98" y="68"/>
                        <a:pt x="98" y="68"/>
                        <a:pt x="98" y="68"/>
                      </a:cubicBezTo>
                      <a:cubicBezTo>
                        <a:pt x="98" y="61"/>
                        <a:pt x="98" y="54"/>
                        <a:pt x="98" y="47"/>
                      </a:cubicBezTo>
                      <a:cubicBezTo>
                        <a:pt x="98" y="32"/>
                        <a:pt x="89" y="21"/>
                        <a:pt x="77" y="12"/>
                      </a:cubicBezTo>
                      <a:cubicBezTo>
                        <a:pt x="61" y="0"/>
                        <a:pt x="36" y="6"/>
                        <a:pt x="28" y="14"/>
                      </a:cubicBezTo>
                      <a:cubicBezTo>
                        <a:pt x="20" y="20"/>
                        <a:pt x="9" y="30"/>
                        <a:pt x="9" y="46"/>
                      </a:cubicBezTo>
                      <a:cubicBezTo>
                        <a:pt x="9" y="53"/>
                        <a:pt x="9" y="61"/>
                        <a:pt x="9" y="68"/>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09" name="Freeform 444"/>
                <p:cNvSpPr>
                  <a:spLocks/>
                </p:cNvSpPr>
                <p:nvPr/>
              </p:nvSpPr>
              <p:spPr bwMode="auto">
                <a:xfrm>
                  <a:off x="7829994" y="5066922"/>
                  <a:ext cx="28848" cy="29067"/>
                </a:xfrm>
                <a:custGeom>
                  <a:avLst/>
                  <a:gdLst/>
                  <a:ahLst/>
                  <a:cxnLst>
                    <a:cxn ang="0">
                      <a:pos x="0" y="7"/>
                    </a:cxn>
                    <a:cxn ang="0">
                      <a:pos x="7" y="0"/>
                    </a:cxn>
                    <a:cxn ang="0">
                      <a:pos x="7" y="0"/>
                    </a:cxn>
                    <a:cxn ang="0">
                      <a:pos x="7" y="0"/>
                    </a:cxn>
                    <a:cxn ang="0">
                      <a:pos x="14" y="7"/>
                    </a:cxn>
                    <a:cxn ang="0">
                      <a:pos x="14" y="7"/>
                    </a:cxn>
                    <a:cxn ang="0">
                      <a:pos x="14" y="7"/>
                    </a:cxn>
                    <a:cxn ang="0">
                      <a:pos x="7" y="14"/>
                    </a:cxn>
                    <a:cxn ang="0">
                      <a:pos x="7" y="14"/>
                    </a:cxn>
                    <a:cxn ang="0">
                      <a:pos x="7" y="14"/>
                    </a:cxn>
                    <a:cxn ang="0">
                      <a:pos x="0" y="7"/>
                    </a:cxn>
                    <a:cxn ang="0">
                      <a:pos x="0" y="7"/>
                    </a:cxn>
                  </a:cxnLst>
                  <a:rect l="0" t="0" r="r" b="b"/>
                  <a:pathLst>
                    <a:path w="14" h="14">
                      <a:moveTo>
                        <a:pt x="0" y="7"/>
                      </a:moveTo>
                      <a:cubicBezTo>
                        <a:pt x="0" y="3"/>
                        <a:pt x="3" y="0"/>
                        <a:pt x="7" y="0"/>
                      </a:cubicBezTo>
                      <a:cubicBezTo>
                        <a:pt x="7" y="0"/>
                        <a:pt x="7" y="0"/>
                        <a:pt x="7" y="0"/>
                      </a:cubicBezTo>
                      <a:cubicBezTo>
                        <a:pt x="7" y="0"/>
                        <a:pt x="7" y="0"/>
                        <a:pt x="7" y="0"/>
                      </a:cubicBezTo>
                      <a:cubicBezTo>
                        <a:pt x="11" y="0"/>
                        <a:pt x="14" y="3"/>
                        <a:pt x="14" y="7"/>
                      </a:cubicBezTo>
                      <a:cubicBezTo>
                        <a:pt x="14" y="7"/>
                        <a:pt x="14" y="7"/>
                        <a:pt x="14" y="7"/>
                      </a:cubicBezTo>
                      <a:cubicBezTo>
                        <a:pt x="14" y="7"/>
                        <a:pt x="14" y="7"/>
                        <a:pt x="14" y="7"/>
                      </a:cubicBezTo>
                      <a:cubicBezTo>
                        <a:pt x="14" y="11"/>
                        <a:pt x="11" y="14"/>
                        <a:pt x="7" y="14"/>
                      </a:cubicBezTo>
                      <a:cubicBezTo>
                        <a:pt x="7" y="14"/>
                        <a:pt x="7" y="14"/>
                        <a:pt x="7" y="14"/>
                      </a:cubicBezTo>
                      <a:cubicBezTo>
                        <a:pt x="7" y="14"/>
                        <a:pt x="7" y="14"/>
                        <a:pt x="7" y="14"/>
                      </a:cubicBezTo>
                      <a:cubicBezTo>
                        <a:pt x="3" y="14"/>
                        <a:pt x="0" y="11"/>
                        <a:pt x="0" y="7"/>
                      </a:cubicBezTo>
                      <a:cubicBezTo>
                        <a:pt x="0" y="7"/>
                        <a:pt x="0" y="7"/>
                        <a:pt x="0" y="7"/>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110" name="Line 445"/>
                <p:cNvSpPr>
                  <a:spLocks noChangeShapeType="1"/>
                </p:cNvSpPr>
                <p:nvPr/>
              </p:nvSpPr>
              <p:spPr bwMode="auto">
                <a:xfrm>
                  <a:off x="7844415" y="5093021"/>
                  <a:ext cx="1443" cy="27615"/>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nvGrpSpPr>
            <p:cNvPr id="90" name="Group 114"/>
            <p:cNvGrpSpPr/>
            <p:nvPr/>
          </p:nvGrpSpPr>
          <p:grpSpPr>
            <a:xfrm>
              <a:off x="7951269" y="3964744"/>
              <a:ext cx="1466838" cy="702173"/>
              <a:chOff x="7339633" y="2973558"/>
              <a:chExt cx="1354004" cy="526630"/>
            </a:xfrm>
          </p:grpSpPr>
          <p:sp>
            <p:nvSpPr>
              <p:cNvPr id="104" name="Rounded Rectangle 103"/>
              <p:cNvSpPr/>
              <p:nvPr/>
            </p:nvSpPr>
            <p:spPr>
              <a:xfrm>
                <a:off x="7339633" y="2973558"/>
                <a:ext cx="1354004" cy="526630"/>
              </a:xfrm>
              <a:prstGeom prst="roundRect">
                <a:avLst/>
              </a:prstGeom>
              <a:solidFill>
                <a:schemeClr val="bg1"/>
              </a:solidFill>
              <a:ln w="19050">
                <a:solidFill>
                  <a:schemeClr val="tx1"/>
                </a:solidFill>
              </a:ln>
            </p:spPr>
            <p:style>
              <a:lnRef idx="1">
                <a:schemeClr val="accent5"/>
              </a:lnRef>
              <a:fillRef idx="2">
                <a:schemeClr val="accent5"/>
              </a:fillRef>
              <a:effectRef idx="1">
                <a:schemeClr val="accent5"/>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Install-ability</a:t>
                </a:r>
                <a:endParaRPr lang="en-GB" sz="1600" b="1" dirty="0">
                  <a:solidFill>
                    <a:srgbClr val="000000"/>
                  </a:solidFill>
                  <a:latin typeface="Calibri" pitchFamily="34" charset="0"/>
                  <a:cs typeface="Arial" pitchFamily="34" charset="0"/>
                </a:endParaRPr>
              </a:p>
            </p:txBody>
          </p:sp>
          <p:sp>
            <p:nvSpPr>
              <p:cNvPr id="105" name="Freeform 813"/>
              <p:cNvSpPr>
                <a:spLocks noEditPoints="1"/>
              </p:cNvSpPr>
              <p:nvPr/>
            </p:nvSpPr>
            <p:spPr bwMode="auto">
              <a:xfrm>
                <a:off x="7891767" y="3027752"/>
                <a:ext cx="249736" cy="213122"/>
              </a:xfrm>
              <a:custGeom>
                <a:avLst/>
                <a:gdLst/>
                <a:ahLst/>
                <a:cxnLst>
                  <a:cxn ang="0">
                    <a:pos x="91" y="65"/>
                  </a:cxn>
                  <a:cxn ang="0">
                    <a:pos x="91" y="0"/>
                  </a:cxn>
                  <a:cxn ang="0">
                    <a:pos x="59" y="0"/>
                  </a:cxn>
                  <a:cxn ang="0">
                    <a:pos x="59" y="65"/>
                  </a:cxn>
                  <a:cxn ang="0">
                    <a:pos x="37" y="65"/>
                  </a:cxn>
                  <a:cxn ang="0">
                    <a:pos x="75" y="103"/>
                  </a:cxn>
                  <a:cxn ang="0">
                    <a:pos x="113" y="65"/>
                  </a:cxn>
                  <a:cxn ang="0">
                    <a:pos x="91" y="65"/>
                  </a:cxn>
                  <a:cxn ang="0">
                    <a:pos x="150" y="86"/>
                  </a:cxn>
                  <a:cxn ang="0">
                    <a:pos x="150" y="117"/>
                  </a:cxn>
                  <a:cxn ang="0">
                    <a:pos x="143" y="125"/>
                  </a:cxn>
                  <a:cxn ang="0">
                    <a:pos x="7" y="125"/>
                  </a:cxn>
                  <a:cxn ang="0">
                    <a:pos x="0" y="117"/>
                  </a:cxn>
                  <a:cxn ang="0">
                    <a:pos x="0" y="86"/>
                  </a:cxn>
                </a:cxnLst>
                <a:rect l="0" t="0" r="r" b="b"/>
                <a:pathLst>
                  <a:path w="150" h="125">
                    <a:moveTo>
                      <a:pt x="91" y="65"/>
                    </a:moveTo>
                    <a:cubicBezTo>
                      <a:pt x="91" y="0"/>
                      <a:pt x="91" y="0"/>
                      <a:pt x="91" y="0"/>
                    </a:cubicBezTo>
                    <a:cubicBezTo>
                      <a:pt x="59" y="0"/>
                      <a:pt x="59" y="0"/>
                      <a:pt x="59" y="0"/>
                    </a:cubicBezTo>
                    <a:cubicBezTo>
                      <a:pt x="59" y="65"/>
                      <a:pt x="59" y="65"/>
                      <a:pt x="59" y="65"/>
                    </a:cubicBezTo>
                    <a:cubicBezTo>
                      <a:pt x="37" y="65"/>
                      <a:pt x="37" y="65"/>
                      <a:pt x="37" y="65"/>
                    </a:cubicBezTo>
                    <a:cubicBezTo>
                      <a:pt x="75" y="103"/>
                      <a:pt x="75" y="103"/>
                      <a:pt x="75" y="103"/>
                    </a:cubicBezTo>
                    <a:cubicBezTo>
                      <a:pt x="113" y="65"/>
                      <a:pt x="113" y="65"/>
                      <a:pt x="113" y="65"/>
                    </a:cubicBezTo>
                    <a:lnTo>
                      <a:pt x="91" y="65"/>
                    </a:lnTo>
                    <a:close/>
                    <a:moveTo>
                      <a:pt x="150" y="86"/>
                    </a:moveTo>
                    <a:cubicBezTo>
                      <a:pt x="150" y="117"/>
                      <a:pt x="150" y="117"/>
                      <a:pt x="150" y="117"/>
                    </a:cubicBezTo>
                    <a:cubicBezTo>
                      <a:pt x="150" y="121"/>
                      <a:pt x="147" y="125"/>
                      <a:pt x="143" y="125"/>
                    </a:cubicBezTo>
                    <a:cubicBezTo>
                      <a:pt x="7" y="125"/>
                      <a:pt x="7" y="125"/>
                      <a:pt x="7" y="125"/>
                    </a:cubicBezTo>
                    <a:cubicBezTo>
                      <a:pt x="3" y="125"/>
                      <a:pt x="0" y="121"/>
                      <a:pt x="0" y="117"/>
                    </a:cubicBezTo>
                    <a:cubicBezTo>
                      <a:pt x="0" y="86"/>
                      <a:pt x="0" y="86"/>
                      <a:pt x="0" y="86"/>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nvGrpSpPr>
            <p:cNvPr id="91" name="Group 139"/>
            <p:cNvGrpSpPr/>
            <p:nvPr/>
          </p:nvGrpSpPr>
          <p:grpSpPr>
            <a:xfrm>
              <a:off x="3905229" y="4804860"/>
              <a:ext cx="1466838" cy="702173"/>
              <a:chOff x="3604827" y="3603645"/>
              <a:chExt cx="1354004" cy="526630"/>
            </a:xfrm>
          </p:grpSpPr>
          <p:sp>
            <p:nvSpPr>
              <p:cNvPr id="97" name="Rounded Rectangle 96"/>
              <p:cNvSpPr/>
              <p:nvPr/>
            </p:nvSpPr>
            <p:spPr>
              <a:xfrm>
                <a:off x="3604827" y="3603645"/>
                <a:ext cx="1354004" cy="526630"/>
              </a:xfrm>
              <a:prstGeom prst="roundRect">
                <a:avLst/>
              </a:prstGeom>
              <a:solidFill>
                <a:schemeClr val="bg1"/>
              </a:solidFill>
              <a:ln w="19050">
                <a:solidFill>
                  <a:schemeClr val="tx1"/>
                </a:solidFill>
              </a:ln>
            </p:spPr>
            <p:style>
              <a:lnRef idx="1">
                <a:schemeClr val="accent6"/>
              </a:lnRef>
              <a:fillRef idx="2">
                <a:schemeClr val="accent6"/>
              </a:fillRef>
              <a:effectRef idx="1">
                <a:schemeClr val="accent6"/>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Maintainability</a:t>
                </a:r>
                <a:endParaRPr lang="en-GB" sz="1600" b="1" dirty="0">
                  <a:solidFill>
                    <a:srgbClr val="000000"/>
                  </a:solidFill>
                  <a:latin typeface="Calibri" pitchFamily="34" charset="0"/>
                  <a:cs typeface="Arial" pitchFamily="34" charset="0"/>
                </a:endParaRPr>
              </a:p>
            </p:txBody>
          </p:sp>
          <p:grpSp>
            <p:nvGrpSpPr>
              <p:cNvPr id="98" name="Group 124"/>
              <p:cNvGrpSpPr/>
              <p:nvPr/>
            </p:nvGrpSpPr>
            <p:grpSpPr>
              <a:xfrm>
                <a:off x="4105794" y="3637911"/>
                <a:ext cx="276100" cy="247548"/>
                <a:chOff x="4411116" y="4855680"/>
                <a:chExt cx="372769" cy="330067"/>
              </a:xfrm>
            </p:grpSpPr>
            <p:sp>
              <p:nvSpPr>
                <p:cNvPr id="99" name="Freeform 638"/>
                <p:cNvSpPr>
                  <a:spLocks/>
                </p:cNvSpPr>
                <p:nvPr/>
              </p:nvSpPr>
              <p:spPr bwMode="auto">
                <a:xfrm>
                  <a:off x="4411116" y="4855680"/>
                  <a:ext cx="327587" cy="327228"/>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0" name="Oval 639"/>
                <p:cNvSpPr>
                  <a:spLocks noChangeArrowheads="1"/>
                </p:cNvSpPr>
                <p:nvPr/>
              </p:nvSpPr>
              <p:spPr bwMode="auto">
                <a:xfrm>
                  <a:off x="4490193" y="5034943"/>
                  <a:ext cx="64955" cy="68291"/>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1" name="Oval 640"/>
                <p:cNvSpPr>
                  <a:spLocks noChangeArrowheads="1"/>
                </p:cNvSpPr>
                <p:nvPr/>
              </p:nvSpPr>
              <p:spPr bwMode="auto">
                <a:xfrm>
                  <a:off x="4617268" y="4918282"/>
                  <a:ext cx="62129" cy="59755"/>
                </a:xfrm>
                <a:prstGeom prst="ellips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2" name="Freeform 641"/>
                <p:cNvSpPr>
                  <a:spLocks/>
                </p:cNvSpPr>
                <p:nvPr/>
              </p:nvSpPr>
              <p:spPr bwMode="auto">
                <a:xfrm>
                  <a:off x="4639859" y="5040627"/>
                  <a:ext cx="144026" cy="145120"/>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sp>
              <p:nvSpPr>
                <p:cNvPr id="103" name="Freeform 642"/>
                <p:cNvSpPr>
                  <a:spLocks/>
                </p:cNvSpPr>
                <p:nvPr/>
              </p:nvSpPr>
              <p:spPr bwMode="auto">
                <a:xfrm>
                  <a:off x="4687868" y="5091797"/>
                  <a:ext cx="48009" cy="45527"/>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cs typeface="Arial" pitchFamily="34" charset="0"/>
                    <a:sym typeface="Calibri"/>
                  </a:endParaRPr>
                </a:p>
              </p:txBody>
            </p:sp>
          </p:grpSp>
        </p:grpSp>
        <p:grpSp>
          <p:nvGrpSpPr>
            <p:cNvPr id="92" name="Group 190"/>
            <p:cNvGrpSpPr/>
            <p:nvPr/>
          </p:nvGrpSpPr>
          <p:grpSpPr>
            <a:xfrm>
              <a:off x="6332855" y="3964744"/>
              <a:ext cx="1466838" cy="702173"/>
              <a:chOff x="5845712" y="2973558"/>
              <a:chExt cx="1354004" cy="526630"/>
            </a:xfrm>
          </p:grpSpPr>
          <p:sp>
            <p:nvSpPr>
              <p:cNvPr id="93" name="Rounded Rectangle 92"/>
              <p:cNvSpPr/>
              <p:nvPr/>
            </p:nvSpPr>
            <p:spPr>
              <a:xfrm>
                <a:off x="5845712" y="2973558"/>
                <a:ext cx="1354004" cy="526630"/>
              </a:xfrm>
              <a:prstGeom prst="roundRect">
                <a:avLst/>
              </a:prstGeom>
              <a:solidFill>
                <a:schemeClr val="bg1"/>
              </a:solidFill>
              <a:ln w="19050">
                <a:solidFill>
                  <a:schemeClr val="tx1"/>
                </a:solidFill>
              </a:ln>
            </p:spPr>
            <p:style>
              <a:lnRef idx="1">
                <a:schemeClr val="accent4"/>
              </a:lnRef>
              <a:fillRef idx="2">
                <a:schemeClr val="accent4"/>
              </a:fillRef>
              <a:effectRef idx="1">
                <a:schemeClr val="accent4"/>
              </a:effectRef>
              <a:fontRef idx="minor">
                <a:schemeClr val="dk1"/>
              </a:fontRef>
            </p:style>
            <p:txBody>
              <a:bodyPr spcFirstLastPara="0" vert="horz" wrap="none" lIns="45720" tIns="45720" rIns="45720" bIns="45720" numCol="1" spcCol="1270" anchor="b" anchorCtr="0">
                <a:noAutofit/>
              </a:bodyPr>
              <a:lstStyle/>
              <a:p>
                <a:pPr algn="ctr" defTabSz="533339">
                  <a:lnSpc>
                    <a:spcPct val="90000"/>
                  </a:lnSpc>
                  <a:spcAft>
                    <a:spcPct val="35000"/>
                  </a:spcAft>
                </a:pPr>
                <a:r>
                  <a:rPr lang="en-GB" sz="1600" b="1" dirty="0" smtClean="0">
                    <a:solidFill>
                      <a:srgbClr val="000000"/>
                    </a:solidFill>
                    <a:latin typeface="Calibri" pitchFamily="34" charset="0"/>
                    <a:cs typeface="Arial" pitchFamily="34" charset="0"/>
                  </a:rPr>
                  <a:t>Performance</a:t>
                </a:r>
                <a:endParaRPr lang="en-GB" sz="1600" b="1" dirty="0">
                  <a:solidFill>
                    <a:srgbClr val="000000"/>
                  </a:solidFill>
                  <a:latin typeface="Calibri" pitchFamily="34" charset="0"/>
                  <a:cs typeface="Arial" pitchFamily="34" charset="0"/>
                </a:endParaRPr>
              </a:p>
            </p:txBody>
          </p:sp>
          <p:grpSp>
            <p:nvGrpSpPr>
              <p:cNvPr id="94" name="Group 128"/>
              <p:cNvGrpSpPr/>
              <p:nvPr/>
            </p:nvGrpSpPr>
            <p:grpSpPr>
              <a:xfrm>
                <a:off x="6350162" y="3011653"/>
                <a:ext cx="345092" cy="223037"/>
                <a:chOff x="6833323" y="4001321"/>
                <a:chExt cx="465917" cy="347478"/>
              </a:xfrm>
            </p:grpSpPr>
            <p:sp>
              <p:nvSpPr>
                <p:cNvPr id="95" name="Freeform 608"/>
                <p:cNvSpPr>
                  <a:spLocks/>
                </p:cNvSpPr>
                <p:nvPr/>
              </p:nvSpPr>
              <p:spPr bwMode="auto">
                <a:xfrm>
                  <a:off x="6833323" y="4075076"/>
                  <a:ext cx="465917" cy="273723"/>
                </a:xfrm>
                <a:custGeom>
                  <a:avLst/>
                  <a:gdLst/>
                  <a:ahLst/>
                  <a:cxnLst>
                    <a:cxn ang="0">
                      <a:pos x="331" y="193"/>
                    </a:cxn>
                    <a:cxn ang="0">
                      <a:pos x="295" y="193"/>
                    </a:cxn>
                    <a:cxn ang="0">
                      <a:pos x="295" y="0"/>
                    </a:cxn>
                    <a:cxn ang="0">
                      <a:pos x="268" y="0"/>
                    </a:cxn>
                    <a:cxn ang="0">
                      <a:pos x="268" y="193"/>
                    </a:cxn>
                    <a:cxn ang="0">
                      <a:pos x="261" y="193"/>
                    </a:cxn>
                    <a:cxn ang="0">
                      <a:pos x="261" y="46"/>
                    </a:cxn>
                    <a:cxn ang="0">
                      <a:pos x="235" y="46"/>
                    </a:cxn>
                    <a:cxn ang="0">
                      <a:pos x="235" y="193"/>
                    </a:cxn>
                    <a:cxn ang="0">
                      <a:pos x="226" y="193"/>
                    </a:cxn>
                    <a:cxn ang="0">
                      <a:pos x="226" y="99"/>
                    </a:cxn>
                    <a:cxn ang="0">
                      <a:pos x="200" y="99"/>
                    </a:cxn>
                    <a:cxn ang="0">
                      <a:pos x="200" y="193"/>
                    </a:cxn>
                    <a:cxn ang="0">
                      <a:pos x="193" y="193"/>
                    </a:cxn>
                    <a:cxn ang="0">
                      <a:pos x="193" y="131"/>
                    </a:cxn>
                    <a:cxn ang="0">
                      <a:pos x="166" y="131"/>
                    </a:cxn>
                    <a:cxn ang="0">
                      <a:pos x="166" y="193"/>
                    </a:cxn>
                    <a:cxn ang="0">
                      <a:pos x="159" y="193"/>
                    </a:cxn>
                    <a:cxn ang="0">
                      <a:pos x="159" y="149"/>
                    </a:cxn>
                    <a:cxn ang="0">
                      <a:pos x="133" y="149"/>
                    </a:cxn>
                    <a:cxn ang="0">
                      <a:pos x="133" y="193"/>
                    </a:cxn>
                    <a:cxn ang="0">
                      <a:pos x="125" y="193"/>
                    </a:cxn>
                    <a:cxn ang="0">
                      <a:pos x="125" y="162"/>
                    </a:cxn>
                    <a:cxn ang="0">
                      <a:pos x="100" y="162"/>
                    </a:cxn>
                    <a:cxn ang="0">
                      <a:pos x="100" y="193"/>
                    </a:cxn>
                    <a:cxn ang="0">
                      <a:pos x="92" y="193"/>
                    </a:cxn>
                    <a:cxn ang="0">
                      <a:pos x="92" y="169"/>
                    </a:cxn>
                    <a:cxn ang="0">
                      <a:pos x="66" y="169"/>
                    </a:cxn>
                    <a:cxn ang="0">
                      <a:pos x="66" y="193"/>
                    </a:cxn>
                    <a:cxn ang="0">
                      <a:pos x="57" y="193"/>
                    </a:cxn>
                    <a:cxn ang="0">
                      <a:pos x="57" y="180"/>
                    </a:cxn>
                    <a:cxn ang="0">
                      <a:pos x="33" y="180"/>
                    </a:cxn>
                    <a:cxn ang="0">
                      <a:pos x="33" y="193"/>
                    </a:cxn>
                    <a:cxn ang="0">
                      <a:pos x="0" y="193"/>
                    </a:cxn>
                  </a:cxnLst>
                  <a:rect l="0" t="0" r="r" b="b"/>
                  <a:pathLst>
                    <a:path w="331" h="193">
                      <a:moveTo>
                        <a:pt x="331" y="193"/>
                      </a:moveTo>
                      <a:lnTo>
                        <a:pt x="295" y="193"/>
                      </a:lnTo>
                      <a:lnTo>
                        <a:pt x="295" y="0"/>
                      </a:lnTo>
                      <a:lnTo>
                        <a:pt x="268" y="0"/>
                      </a:lnTo>
                      <a:lnTo>
                        <a:pt x="268" y="193"/>
                      </a:lnTo>
                      <a:lnTo>
                        <a:pt x="261" y="193"/>
                      </a:lnTo>
                      <a:lnTo>
                        <a:pt x="261" y="46"/>
                      </a:lnTo>
                      <a:lnTo>
                        <a:pt x="235" y="46"/>
                      </a:lnTo>
                      <a:lnTo>
                        <a:pt x="235" y="193"/>
                      </a:lnTo>
                      <a:lnTo>
                        <a:pt x="226" y="193"/>
                      </a:lnTo>
                      <a:lnTo>
                        <a:pt x="226" y="99"/>
                      </a:lnTo>
                      <a:lnTo>
                        <a:pt x="200" y="99"/>
                      </a:lnTo>
                      <a:lnTo>
                        <a:pt x="200" y="193"/>
                      </a:lnTo>
                      <a:lnTo>
                        <a:pt x="193" y="193"/>
                      </a:lnTo>
                      <a:lnTo>
                        <a:pt x="193" y="131"/>
                      </a:lnTo>
                      <a:lnTo>
                        <a:pt x="166" y="131"/>
                      </a:lnTo>
                      <a:lnTo>
                        <a:pt x="166" y="193"/>
                      </a:lnTo>
                      <a:lnTo>
                        <a:pt x="159" y="193"/>
                      </a:lnTo>
                      <a:lnTo>
                        <a:pt x="159" y="149"/>
                      </a:lnTo>
                      <a:lnTo>
                        <a:pt x="133" y="149"/>
                      </a:lnTo>
                      <a:lnTo>
                        <a:pt x="133" y="193"/>
                      </a:lnTo>
                      <a:lnTo>
                        <a:pt x="125" y="193"/>
                      </a:lnTo>
                      <a:lnTo>
                        <a:pt x="125" y="162"/>
                      </a:lnTo>
                      <a:lnTo>
                        <a:pt x="100" y="162"/>
                      </a:lnTo>
                      <a:lnTo>
                        <a:pt x="100" y="193"/>
                      </a:lnTo>
                      <a:lnTo>
                        <a:pt x="92" y="193"/>
                      </a:lnTo>
                      <a:lnTo>
                        <a:pt x="92" y="169"/>
                      </a:lnTo>
                      <a:lnTo>
                        <a:pt x="66" y="169"/>
                      </a:lnTo>
                      <a:lnTo>
                        <a:pt x="66" y="193"/>
                      </a:lnTo>
                      <a:lnTo>
                        <a:pt x="57" y="193"/>
                      </a:lnTo>
                      <a:lnTo>
                        <a:pt x="57" y="180"/>
                      </a:lnTo>
                      <a:lnTo>
                        <a:pt x="33" y="180"/>
                      </a:lnTo>
                      <a:lnTo>
                        <a:pt x="33" y="193"/>
                      </a:lnTo>
                      <a:lnTo>
                        <a:pt x="0" y="193"/>
                      </a:ln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sp>
              <p:nvSpPr>
                <p:cNvPr id="96" name="Freeform 609"/>
                <p:cNvSpPr>
                  <a:spLocks/>
                </p:cNvSpPr>
                <p:nvPr/>
              </p:nvSpPr>
              <p:spPr bwMode="auto">
                <a:xfrm>
                  <a:off x="6895249" y="4001321"/>
                  <a:ext cx="297004" cy="277979"/>
                </a:xfrm>
                <a:custGeom>
                  <a:avLst/>
                  <a:gdLst/>
                  <a:ahLst/>
                  <a:cxnLst>
                    <a:cxn ang="0">
                      <a:pos x="121" y="23"/>
                    </a:cxn>
                    <a:cxn ang="0">
                      <a:pos x="146" y="0"/>
                    </a:cxn>
                    <a:cxn ang="0">
                      <a:pos x="147" y="37"/>
                    </a:cxn>
                    <a:cxn ang="0">
                      <a:pos x="139" y="34"/>
                    </a:cxn>
                    <a:cxn ang="0">
                      <a:pos x="0" y="136"/>
                    </a:cxn>
                    <a:cxn ang="0">
                      <a:pos x="128" y="31"/>
                    </a:cxn>
                  </a:cxnLst>
                  <a:rect l="0" t="0" r="r" b="b"/>
                  <a:pathLst>
                    <a:path w="147" h="136">
                      <a:moveTo>
                        <a:pt x="121" y="23"/>
                      </a:moveTo>
                      <a:cubicBezTo>
                        <a:pt x="146" y="0"/>
                        <a:pt x="146" y="0"/>
                        <a:pt x="146" y="0"/>
                      </a:cubicBezTo>
                      <a:cubicBezTo>
                        <a:pt x="147" y="37"/>
                        <a:pt x="147" y="37"/>
                        <a:pt x="147" y="37"/>
                      </a:cubicBezTo>
                      <a:cubicBezTo>
                        <a:pt x="139" y="34"/>
                        <a:pt x="139" y="34"/>
                        <a:pt x="139" y="34"/>
                      </a:cubicBezTo>
                      <a:cubicBezTo>
                        <a:pt x="119" y="83"/>
                        <a:pt x="70" y="122"/>
                        <a:pt x="0" y="136"/>
                      </a:cubicBezTo>
                      <a:cubicBezTo>
                        <a:pt x="45" y="119"/>
                        <a:pt x="106" y="89"/>
                        <a:pt x="128" y="31"/>
                      </a:cubicBezTo>
                    </a:path>
                  </a:pathLst>
                </a:cu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Calibri"/>
                    <a:sym typeface="Calibri"/>
                  </a:endParaRPr>
                </a:p>
              </p:txBody>
            </p:sp>
          </p:grpSp>
        </p:grpSp>
      </p:grpSp>
      <p:sp>
        <p:nvSpPr>
          <p:cNvPr id="77" name="Rounded Rectangle 76"/>
          <p:cNvSpPr/>
          <p:nvPr/>
        </p:nvSpPr>
        <p:spPr>
          <a:xfrm>
            <a:off x="716280" y="4145280"/>
            <a:ext cx="8930640" cy="21640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is the degree to which any product or service possesses a desired combination of attributes, to satisfy the stated and implied needs.</a:t>
            </a:r>
          </a:p>
          <a:p>
            <a:pPr lvl="1"/>
            <a:r>
              <a:rPr lang="en-US" sz="1400" dirty="0" smtClean="0">
                <a:solidFill>
                  <a:schemeClr val="tx2">
                    <a:lumMod val="50000"/>
                  </a:schemeClr>
                </a:solidFill>
              </a:rPr>
              <a:t>People have found many ways to define Quality: </a:t>
            </a:r>
          </a:p>
          <a:p>
            <a:pPr lvl="2">
              <a:buFont typeface="Wingdings" pitchFamily="2" charset="2"/>
              <a:buChar char="ü"/>
            </a:pPr>
            <a:r>
              <a:rPr lang="en-US" sz="1400" dirty="0" smtClean="0">
                <a:solidFill>
                  <a:schemeClr val="tx2">
                    <a:lumMod val="50000"/>
                  </a:schemeClr>
                </a:solidFill>
              </a:rPr>
              <a:t> A degree of excellence</a:t>
            </a:r>
          </a:p>
          <a:p>
            <a:pPr lvl="2">
              <a:buFont typeface="Wingdings" pitchFamily="2" charset="2"/>
              <a:buChar char="ü"/>
            </a:pPr>
            <a:r>
              <a:rPr lang="en-US" sz="1400" dirty="0" smtClean="0">
                <a:solidFill>
                  <a:schemeClr val="tx2">
                    <a:lumMod val="50000"/>
                  </a:schemeClr>
                </a:solidFill>
              </a:rPr>
              <a:t> Conformance to requirements</a:t>
            </a:r>
          </a:p>
          <a:p>
            <a:pPr lvl="2">
              <a:buFont typeface="Wingdings" pitchFamily="2" charset="2"/>
              <a:buChar char="ü"/>
            </a:pPr>
            <a:r>
              <a:rPr lang="en-US" sz="1400" dirty="0" smtClean="0">
                <a:solidFill>
                  <a:schemeClr val="tx2">
                    <a:lumMod val="50000"/>
                  </a:schemeClr>
                </a:solidFill>
              </a:rPr>
              <a:t> Totality of characteristics which act to satisfy a need</a:t>
            </a:r>
          </a:p>
          <a:p>
            <a:pPr lvl="2">
              <a:buFont typeface="Wingdings" pitchFamily="2" charset="2"/>
              <a:buChar char="ü"/>
            </a:pPr>
            <a:r>
              <a:rPr lang="en-US" sz="1400" dirty="0" smtClean="0">
                <a:solidFill>
                  <a:schemeClr val="tx2">
                    <a:lumMod val="50000"/>
                  </a:schemeClr>
                </a:solidFill>
              </a:rPr>
              <a:t> Fitness for use</a:t>
            </a:r>
          </a:p>
          <a:p>
            <a:pPr lvl="2">
              <a:buFont typeface="Wingdings" pitchFamily="2" charset="2"/>
              <a:buChar char="ü"/>
            </a:pPr>
            <a:r>
              <a:rPr lang="en-US" sz="1400" dirty="0" smtClean="0">
                <a:solidFill>
                  <a:schemeClr val="tx2">
                    <a:lumMod val="50000"/>
                  </a:schemeClr>
                </a:solidFill>
              </a:rPr>
              <a:t> Fitness for purpose</a:t>
            </a:r>
          </a:p>
          <a:p>
            <a:pPr lvl="2">
              <a:buFont typeface="Wingdings" pitchFamily="2" charset="2"/>
              <a:buChar char="ü"/>
            </a:pPr>
            <a:r>
              <a:rPr lang="en-US" sz="1400" dirty="0" smtClean="0">
                <a:solidFill>
                  <a:schemeClr val="tx2">
                    <a:lumMod val="50000"/>
                  </a:schemeClr>
                </a:solidFill>
              </a:rPr>
              <a:t> Freedom from defects</a:t>
            </a:r>
          </a:p>
          <a:p>
            <a:pPr lvl="2">
              <a:buFont typeface="Wingdings" pitchFamily="2" charset="2"/>
              <a:buChar char="ü"/>
            </a:pPr>
            <a:r>
              <a:rPr lang="en-US" sz="1400" dirty="0" smtClean="0">
                <a:solidFill>
                  <a:schemeClr val="tx2">
                    <a:lumMod val="50000"/>
                  </a:schemeClr>
                </a:solidFill>
              </a:rPr>
              <a:t> Delighting customers etc…</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blinds(horizontal)">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blinds(horizontal)">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download (2).jpg"/>
          <p:cNvPicPr>
            <a:picLocks noChangeAspect="1"/>
          </p:cNvPicPr>
          <p:nvPr/>
        </p:nvPicPr>
        <p:blipFill>
          <a:blip r:embed="rId3" cstate="print"/>
          <a:stretch>
            <a:fillRect/>
          </a:stretch>
        </p:blipFill>
        <p:spPr>
          <a:xfrm>
            <a:off x="177800" y="1475740"/>
            <a:ext cx="4467225" cy="1381760"/>
          </a:xfrm>
          <a:prstGeom prst="rect">
            <a:avLst/>
          </a:prstGeom>
        </p:spPr>
      </p:pic>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Benefits of  </a:t>
            </a:r>
            <a:r>
              <a:rPr lang="en-US" sz="2400" dirty="0" smtClean="0"/>
              <a:t>Quality</a:t>
            </a:r>
            <a:endParaRPr lang="en-US" sz="2400" dirty="0"/>
          </a:p>
        </p:txBody>
      </p:sp>
      <p:sp>
        <p:nvSpPr>
          <p:cNvPr id="5" name="Rounded Rectangle 4"/>
          <p:cNvSpPr/>
          <p:nvPr/>
        </p:nvSpPr>
        <p:spPr>
          <a:xfrm>
            <a:off x="5194300" y="1203961"/>
            <a:ext cx="4368800" cy="13614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smtClean="0">
                <a:solidFill>
                  <a:schemeClr val="tx2">
                    <a:lumMod val="50000"/>
                  </a:schemeClr>
                </a:solidFill>
              </a:rPr>
              <a:t>Benefits of quality to clients</a:t>
            </a:r>
          </a:p>
          <a:p>
            <a:pPr lvl="2">
              <a:buFont typeface="Wingdings" pitchFamily="2" charset="2"/>
              <a:buChar char="ü"/>
            </a:pPr>
            <a:r>
              <a:rPr lang="en-US" sz="1400" dirty="0" smtClean="0">
                <a:solidFill>
                  <a:schemeClr val="tx2">
                    <a:lumMod val="50000"/>
                  </a:schemeClr>
                </a:solidFill>
              </a:rPr>
              <a:t>Improved services</a:t>
            </a:r>
          </a:p>
          <a:p>
            <a:pPr lvl="2">
              <a:buFont typeface="Wingdings" pitchFamily="2" charset="2"/>
              <a:buChar char="ü"/>
            </a:pPr>
            <a:r>
              <a:rPr lang="en-US" sz="1400" dirty="0" smtClean="0">
                <a:solidFill>
                  <a:schemeClr val="tx2">
                    <a:lumMod val="50000"/>
                  </a:schemeClr>
                </a:solidFill>
              </a:rPr>
              <a:t>Improved choices</a:t>
            </a:r>
          </a:p>
          <a:p>
            <a:pPr lvl="2">
              <a:buFont typeface="Wingdings" pitchFamily="2" charset="2"/>
              <a:buChar char="ü"/>
            </a:pPr>
            <a:r>
              <a:rPr lang="en-US" sz="1400" dirty="0" smtClean="0">
                <a:solidFill>
                  <a:schemeClr val="tx2">
                    <a:lumMod val="50000"/>
                  </a:schemeClr>
                </a:solidFill>
              </a:rPr>
              <a:t>Expectations met or exceeded</a:t>
            </a:r>
          </a:p>
          <a:p>
            <a:pPr lvl="2">
              <a:buFont typeface="Wingdings" pitchFamily="2" charset="2"/>
              <a:buChar char="ü"/>
            </a:pPr>
            <a:r>
              <a:rPr lang="en-US" sz="1400" dirty="0" smtClean="0">
                <a:solidFill>
                  <a:schemeClr val="tx2">
                    <a:lumMod val="50000"/>
                  </a:schemeClr>
                </a:solidFill>
              </a:rPr>
              <a:t>Client oriented employees</a:t>
            </a:r>
          </a:p>
          <a:p>
            <a:pPr lvl="2">
              <a:buFont typeface="Wingdings" pitchFamily="2" charset="2"/>
              <a:buChar char="ü"/>
            </a:pPr>
            <a:r>
              <a:rPr lang="en-US" sz="1400" dirty="0" smtClean="0">
                <a:solidFill>
                  <a:schemeClr val="tx2">
                    <a:lumMod val="50000"/>
                  </a:schemeClr>
                </a:solidFill>
              </a:rPr>
              <a:t>Friendlier atmosphere</a:t>
            </a:r>
          </a:p>
        </p:txBody>
      </p:sp>
      <p:sp>
        <p:nvSpPr>
          <p:cNvPr id="9" name="Rounded Rectangle 8"/>
          <p:cNvSpPr/>
          <p:nvPr/>
        </p:nvSpPr>
        <p:spPr>
          <a:xfrm>
            <a:off x="5209540" y="2745741"/>
            <a:ext cx="4366260" cy="15341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smtClean="0">
                <a:solidFill>
                  <a:schemeClr val="tx2">
                    <a:lumMod val="50000"/>
                  </a:schemeClr>
                </a:solidFill>
              </a:rPr>
              <a:t>Benefits of quality to employees</a:t>
            </a:r>
          </a:p>
          <a:p>
            <a:pPr lvl="2">
              <a:buFont typeface="Wingdings" pitchFamily="2" charset="2"/>
              <a:buChar char="ü"/>
            </a:pPr>
            <a:r>
              <a:rPr lang="en-US" sz="1400" dirty="0" smtClean="0">
                <a:solidFill>
                  <a:schemeClr val="tx2">
                    <a:lumMod val="50000"/>
                  </a:schemeClr>
                </a:solidFill>
              </a:rPr>
              <a:t>Pride in services delivered</a:t>
            </a:r>
          </a:p>
          <a:p>
            <a:pPr lvl="2">
              <a:buFont typeface="Wingdings" pitchFamily="2" charset="2"/>
              <a:buChar char="ü"/>
            </a:pPr>
            <a:r>
              <a:rPr lang="en-US" sz="1400" dirty="0" smtClean="0">
                <a:solidFill>
                  <a:schemeClr val="tx2">
                    <a:lumMod val="50000"/>
                  </a:schemeClr>
                </a:solidFill>
              </a:rPr>
              <a:t>Job satisfaction</a:t>
            </a:r>
          </a:p>
          <a:p>
            <a:pPr lvl="2">
              <a:buFont typeface="Wingdings" pitchFamily="2" charset="2"/>
              <a:buChar char="ü"/>
            </a:pPr>
            <a:r>
              <a:rPr lang="en-US" sz="1400" dirty="0" smtClean="0">
                <a:solidFill>
                  <a:schemeClr val="tx2">
                    <a:lumMod val="50000"/>
                  </a:schemeClr>
                </a:solidFill>
              </a:rPr>
              <a:t>Improved communications</a:t>
            </a:r>
          </a:p>
          <a:p>
            <a:pPr lvl="2">
              <a:buFont typeface="Wingdings" pitchFamily="2" charset="2"/>
              <a:buChar char="ü"/>
            </a:pPr>
            <a:r>
              <a:rPr lang="en-US" sz="1400" dirty="0" smtClean="0">
                <a:solidFill>
                  <a:schemeClr val="tx2">
                    <a:lumMod val="50000"/>
                  </a:schemeClr>
                </a:solidFill>
              </a:rPr>
              <a:t>Streamlined work processes</a:t>
            </a:r>
          </a:p>
          <a:p>
            <a:pPr lvl="2">
              <a:buFont typeface="Wingdings" pitchFamily="2" charset="2"/>
              <a:buChar char="ü"/>
            </a:pPr>
            <a:r>
              <a:rPr lang="en-US" sz="1400" dirty="0" smtClean="0">
                <a:solidFill>
                  <a:schemeClr val="tx2">
                    <a:lumMod val="50000"/>
                  </a:schemeClr>
                </a:solidFill>
              </a:rPr>
              <a:t>Happier clients </a:t>
            </a:r>
          </a:p>
          <a:p>
            <a:pPr lvl="2">
              <a:buFont typeface="Wingdings" pitchFamily="2" charset="2"/>
              <a:buChar char="ü"/>
            </a:pPr>
            <a:r>
              <a:rPr lang="en-US" sz="1400" dirty="0" smtClean="0">
                <a:solidFill>
                  <a:schemeClr val="tx2">
                    <a:lumMod val="50000"/>
                  </a:schemeClr>
                </a:solidFill>
              </a:rPr>
              <a:t>Strong client relationships</a:t>
            </a:r>
          </a:p>
        </p:txBody>
      </p:sp>
      <p:sp>
        <p:nvSpPr>
          <p:cNvPr id="10" name="Rounded Rectangle 9"/>
          <p:cNvSpPr/>
          <p:nvPr/>
        </p:nvSpPr>
        <p:spPr>
          <a:xfrm>
            <a:off x="5306060" y="4488179"/>
            <a:ext cx="4434840" cy="174752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buFont typeface="Wingdings" pitchFamily="2" charset="2"/>
              <a:buChar char="q"/>
            </a:pPr>
            <a:r>
              <a:rPr lang="en-US" sz="1400" dirty="0" smtClean="0">
                <a:solidFill>
                  <a:schemeClr val="tx2">
                    <a:lumMod val="50000"/>
                  </a:schemeClr>
                </a:solidFill>
              </a:rPr>
              <a:t>Benefits of quality to the organization</a:t>
            </a:r>
          </a:p>
          <a:p>
            <a:pPr lvl="2">
              <a:buFont typeface="Wingdings" pitchFamily="2" charset="2"/>
              <a:buChar char="ü"/>
            </a:pPr>
            <a:r>
              <a:rPr lang="en-US" sz="1400" dirty="0" smtClean="0">
                <a:solidFill>
                  <a:schemeClr val="tx2">
                    <a:lumMod val="50000"/>
                  </a:schemeClr>
                </a:solidFill>
              </a:rPr>
              <a:t>Improved/expanded services</a:t>
            </a:r>
          </a:p>
          <a:p>
            <a:pPr lvl="2">
              <a:buFont typeface="Wingdings" pitchFamily="2" charset="2"/>
              <a:buChar char="ü"/>
            </a:pPr>
            <a:r>
              <a:rPr lang="en-US" sz="1400" dirty="0" smtClean="0">
                <a:solidFill>
                  <a:schemeClr val="tx2">
                    <a:lumMod val="50000"/>
                  </a:schemeClr>
                </a:solidFill>
              </a:rPr>
              <a:t>Client oriented employees</a:t>
            </a:r>
          </a:p>
          <a:p>
            <a:pPr lvl="2">
              <a:buFont typeface="Wingdings" pitchFamily="2" charset="2"/>
              <a:buChar char="ü"/>
            </a:pPr>
            <a:r>
              <a:rPr lang="en-US" sz="1400" dirty="0" smtClean="0">
                <a:solidFill>
                  <a:schemeClr val="tx2">
                    <a:lumMod val="50000"/>
                  </a:schemeClr>
                </a:solidFill>
              </a:rPr>
              <a:t>Improved client relations</a:t>
            </a:r>
          </a:p>
          <a:p>
            <a:pPr lvl="2">
              <a:buFont typeface="Wingdings" pitchFamily="2" charset="2"/>
              <a:buChar char="ü"/>
            </a:pPr>
            <a:r>
              <a:rPr lang="en-US" sz="1400" dirty="0" smtClean="0">
                <a:solidFill>
                  <a:schemeClr val="tx2">
                    <a:lumMod val="50000"/>
                  </a:schemeClr>
                </a:solidFill>
              </a:rPr>
              <a:t>Improved community relations = better political relations</a:t>
            </a:r>
          </a:p>
          <a:p>
            <a:pPr lvl="2">
              <a:buFont typeface="Wingdings" pitchFamily="2" charset="2"/>
              <a:buChar char="ü"/>
            </a:pPr>
            <a:r>
              <a:rPr lang="en-US" sz="1400" dirty="0" smtClean="0">
                <a:solidFill>
                  <a:schemeClr val="tx2">
                    <a:lumMod val="50000"/>
                  </a:schemeClr>
                </a:solidFill>
              </a:rPr>
              <a:t>Lower costs/cost contained</a:t>
            </a:r>
          </a:p>
          <a:p>
            <a:pPr lvl="2">
              <a:buFont typeface="Wingdings" pitchFamily="2" charset="2"/>
              <a:buChar char="ü"/>
            </a:pPr>
            <a:r>
              <a:rPr lang="en-US" sz="1400" dirty="0" smtClean="0">
                <a:solidFill>
                  <a:schemeClr val="tx2">
                    <a:lumMod val="50000"/>
                  </a:schemeClr>
                </a:solidFill>
              </a:rPr>
              <a:t>Improved funding</a:t>
            </a:r>
          </a:p>
        </p:txBody>
      </p:sp>
      <p:pic>
        <p:nvPicPr>
          <p:cNvPr id="12" name="Picture 11" descr="download (1).jpg"/>
          <p:cNvPicPr>
            <a:picLocks noChangeAspect="1"/>
          </p:cNvPicPr>
          <p:nvPr/>
        </p:nvPicPr>
        <p:blipFill>
          <a:blip r:embed="rId4" cstate="print"/>
          <a:stretch>
            <a:fillRect/>
          </a:stretch>
        </p:blipFill>
        <p:spPr>
          <a:xfrm>
            <a:off x="215900" y="2945130"/>
            <a:ext cx="4445000" cy="1588770"/>
          </a:xfrm>
          <a:prstGeom prst="rect">
            <a:avLst/>
          </a:prstGeom>
        </p:spPr>
      </p:pic>
      <p:grpSp>
        <p:nvGrpSpPr>
          <p:cNvPr id="15" name="Group 14"/>
          <p:cNvGrpSpPr/>
          <p:nvPr/>
        </p:nvGrpSpPr>
        <p:grpSpPr>
          <a:xfrm>
            <a:off x="727710" y="4686300"/>
            <a:ext cx="3018790" cy="1581150"/>
            <a:chOff x="727710" y="4686300"/>
            <a:chExt cx="3018790" cy="1581150"/>
          </a:xfrm>
        </p:grpSpPr>
        <p:pic>
          <p:nvPicPr>
            <p:cNvPr id="13" name="Picture 12" descr="download.jpg"/>
            <p:cNvPicPr>
              <a:picLocks noChangeAspect="1"/>
            </p:cNvPicPr>
            <p:nvPr/>
          </p:nvPicPr>
          <p:blipFill>
            <a:blip r:embed="rId5" cstate="print"/>
            <a:stretch>
              <a:fillRect/>
            </a:stretch>
          </p:blipFill>
          <p:spPr>
            <a:xfrm>
              <a:off x="727710" y="4686300"/>
              <a:ext cx="3018790" cy="1581150"/>
            </a:xfrm>
            <a:prstGeom prst="rect">
              <a:avLst/>
            </a:prstGeom>
          </p:spPr>
        </p:pic>
        <p:sp>
          <p:nvSpPr>
            <p:cNvPr id="14" name="TextBox 13"/>
            <p:cNvSpPr txBox="1"/>
            <p:nvPr/>
          </p:nvSpPr>
          <p:spPr>
            <a:xfrm>
              <a:off x="1257300" y="4699000"/>
              <a:ext cx="2171700" cy="307777"/>
            </a:xfrm>
            <a:prstGeom prst="rect">
              <a:avLst/>
            </a:prstGeom>
            <a:noFill/>
          </p:spPr>
          <p:txBody>
            <a:bodyPr wrap="square" rtlCol="0">
              <a:spAutoFit/>
            </a:bodyPr>
            <a:lstStyle/>
            <a:p>
              <a:r>
                <a:rPr lang="en-US" sz="1400" b="1" dirty="0" smtClean="0">
                  <a:solidFill>
                    <a:schemeClr val="tx2">
                      <a:lumMod val="50000"/>
                    </a:schemeClr>
                  </a:solidFill>
                </a:rPr>
                <a:t>Organization Benefits</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linds(horizontal)">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uality Terminologies </a:t>
            </a:r>
            <a:endParaRPr lang="en-US" sz="2400" dirty="0">
              <a:solidFill>
                <a:srgbClr val="002060"/>
              </a:solidFill>
            </a:endParaRPr>
          </a:p>
        </p:txBody>
      </p:sp>
      <p:sp>
        <p:nvSpPr>
          <p:cNvPr id="5" name="Rounded Rectangle 4"/>
          <p:cNvSpPr/>
          <p:nvPr/>
        </p:nvSpPr>
        <p:spPr>
          <a:xfrm>
            <a:off x="487680" y="156972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Quality Control? </a:t>
            </a:r>
          </a:p>
          <a:p>
            <a:pPr lvl="1"/>
            <a:r>
              <a:rPr lang="en-US" sz="1400" dirty="0" smtClean="0">
                <a:solidFill>
                  <a:schemeClr val="tx2">
                    <a:lumMod val="50000"/>
                  </a:schemeClr>
                </a:solidFill>
              </a:rPr>
              <a:t>Quality control (QC) is a procedure or set of procedures intended to ensure that a product or performed service adheres to a defined set of quality criteria or meets the requirements of the client or customer.</a:t>
            </a:r>
          </a:p>
        </p:txBody>
      </p:sp>
      <p:sp>
        <p:nvSpPr>
          <p:cNvPr id="7" name="Rounded Rectangle 6"/>
          <p:cNvSpPr/>
          <p:nvPr/>
        </p:nvSpPr>
        <p:spPr>
          <a:xfrm>
            <a:off x="502920" y="307848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Quality Assurance? </a:t>
            </a:r>
          </a:p>
          <a:p>
            <a:pPr lvl="1"/>
            <a:r>
              <a:rPr lang="en-US" sz="1400" dirty="0" smtClean="0">
                <a:solidFill>
                  <a:schemeClr val="tx2">
                    <a:lumMod val="50000"/>
                  </a:schemeClr>
                </a:solidFill>
              </a:rPr>
              <a:t>It is the activity of providing evidence needed to establish confidence among all concerned, that quality-related activities are being performed effectively.</a:t>
            </a:r>
          </a:p>
        </p:txBody>
      </p:sp>
      <p:sp>
        <p:nvSpPr>
          <p:cNvPr id="9" name="Rounded Rectangle 8"/>
          <p:cNvSpPr/>
          <p:nvPr/>
        </p:nvSpPr>
        <p:spPr>
          <a:xfrm>
            <a:off x="487680" y="4663441"/>
            <a:ext cx="8808720" cy="108203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Quality Assurance Is Not Quality Control</a:t>
            </a:r>
          </a:p>
          <a:p>
            <a:pPr lvl="1"/>
            <a:r>
              <a:rPr lang="en-US" sz="1400" b="1" dirty="0" smtClean="0">
                <a:solidFill>
                  <a:schemeClr val="tx2">
                    <a:lumMod val="50000"/>
                  </a:schemeClr>
                </a:solidFill>
              </a:rPr>
              <a:t>Quality Assurance </a:t>
            </a:r>
            <a:r>
              <a:rPr lang="en-US" sz="1400" dirty="0" smtClean="0">
                <a:solidFill>
                  <a:schemeClr val="tx2">
                    <a:lumMod val="50000"/>
                  </a:schemeClr>
                </a:solidFill>
              </a:rPr>
              <a:t>makes sure you are doing the right things, the right way. </a:t>
            </a:r>
            <a:r>
              <a:rPr lang="en-US" sz="1400" b="1" dirty="0" smtClean="0">
                <a:solidFill>
                  <a:schemeClr val="tx2">
                    <a:lumMod val="50000"/>
                  </a:schemeClr>
                </a:solidFill>
              </a:rPr>
              <a:t>Quality Control </a:t>
            </a:r>
            <a:r>
              <a:rPr lang="en-US" sz="1400" dirty="0" smtClean="0">
                <a:solidFill>
                  <a:schemeClr val="tx2">
                    <a:lumMod val="50000"/>
                  </a:schemeClr>
                </a:solidFill>
              </a:rPr>
              <a:t>makes sure the results of what you've done are what you expected.</a:t>
            </a:r>
          </a:p>
          <a:p>
            <a:pPr lvl="1"/>
            <a:r>
              <a:rPr lang="en-US" sz="1400" b="1" dirty="0" smtClean="0">
                <a:solidFill>
                  <a:schemeClr val="tx2">
                    <a:lumMod val="50000"/>
                  </a:schemeClr>
                </a:solidFill>
              </a:rPr>
              <a:t>Example: </a:t>
            </a:r>
            <a:r>
              <a:rPr lang="en-US" sz="1400" dirty="0" smtClean="0">
                <a:solidFill>
                  <a:schemeClr val="tx2">
                    <a:lumMod val="50000"/>
                  </a:schemeClr>
                </a:solidFill>
              </a:rPr>
              <a:t>Introducing the testing phase in a process is Quality Assurance, whereas performing the actual testing is a Quality Control.</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linds(horizontal)">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r>
              <a:rPr lang="en-US" sz="2400" dirty="0"/>
              <a:t>Configuration </a:t>
            </a:r>
            <a:r>
              <a:rPr lang="en-US" sz="2400" dirty="0" smtClean="0"/>
              <a:t>Management basic concepts</a:t>
            </a:r>
            <a:endParaRPr lang="en-US" sz="2400" dirty="0"/>
          </a:p>
        </p:txBody>
      </p:sp>
      <p:sp>
        <p:nvSpPr>
          <p:cNvPr id="5" name="Rounded Rectangle 4"/>
          <p:cNvSpPr/>
          <p:nvPr/>
        </p:nvSpPr>
        <p:spPr>
          <a:xfrm>
            <a:off x="487680" y="1357499"/>
            <a:ext cx="8823960" cy="791341"/>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b="1" dirty="0" smtClean="0">
                <a:solidFill>
                  <a:schemeClr val="tx2">
                    <a:lumMod val="50000"/>
                  </a:schemeClr>
                </a:solidFill>
              </a:rPr>
              <a:t>Definition: </a:t>
            </a:r>
          </a:p>
          <a:p>
            <a:pPr lvl="1"/>
            <a:r>
              <a:rPr lang="en-US" sz="1400" dirty="0" smtClean="0">
                <a:solidFill>
                  <a:schemeClr val="tx2">
                    <a:lumMod val="50000"/>
                  </a:schemeClr>
                </a:solidFill>
              </a:rPr>
              <a:t>Configuration Management manages the components of a software project or system as well as the versions and releases of the system.</a:t>
            </a:r>
          </a:p>
        </p:txBody>
      </p:sp>
      <p:pic>
        <p:nvPicPr>
          <p:cNvPr id="7" name="Picture 6" descr="configuration_management.png"/>
          <p:cNvPicPr>
            <a:picLocks noChangeAspect="1"/>
          </p:cNvPicPr>
          <p:nvPr/>
        </p:nvPicPr>
        <p:blipFill>
          <a:blip r:embed="rId3" cstate="print"/>
          <a:stretch>
            <a:fillRect/>
          </a:stretch>
        </p:blipFill>
        <p:spPr>
          <a:xfrm>
            <a:off x="441960" y="2990679"/>
            <a:ext cx="8915400" cy="2764349"/>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518450" y="205188"/>
            <a:ext cx="8915400" cy="778098"/>
          </a:xfrm>
        </p:spPr>
        <p:txBody>
          <a:bodyPr>
            <a:normAutofit/>
          </a:bodyPr>
          <a:lstStyle/>
          <a:p>
            <a:r>
              <a:rPr lang="en-US" sz="2400" dirty="0" smtClean="0"/>
              <a:t>Starters</a:t>
            </a:r>
            <a:endParaRPr lang="en-US" sz="2400" dirty="0">
              <a:solidFill>
                <a:srgbClr val="002060"/>
              </a:solidFill>
            </a:endParaRPr>
          </a:p>
        </p:txBody>
      </p:sp>
      <p:sp>
        <p:nvSpPr>
          <p:cNvPr id="4" name="Rectangle 4"/>
          <p:cNvSpPr txBox="1">
            <a:spLocks noChangeArrowheads="1"/>
          </p:cNvSpPr>
          <p:nvPr/>
        </p:nvSpPr>
        <p:spPr bwMode="auto">
          <a:xfrm>
            <a:off x="674400" y="1387463"/>
            <a:ext cx="6784975" cy="2652909"/>
          </a:xfrm>
          <a:prstGeom prst="rect">
            <a:avLst/>
          </a:prstGeom>
          <a:noFill/>
          <a:ln w="9525">
            <a:noFill/>
            <a:miter lim="800000"/>
            <a:headEnd/>
            <a:tailEnd/>
          </a:ln>
        </p:spPr>
        <p:txBody>
          <a:bodyPr vert="horz" wrap="square" lIns="180000" tIns="0" rIns="180000" bIns="36000" numCol="1" anchor="t" anchorCtr="0" compatLnSpc="1">
            <a:prstTxWarp prst="textNoShape">
              <a:avLst/>
            </a:prstTxWarp>
          </a:bodyPr>
          <a:lstStyle/>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chemeClr val="hlink"/>
                </a:solidFill>
                <a:effectLst/>
                <a:uLnTx/>
                <a:uFillTx/>
                <a:latin typeface="Arial" charset="0"/>
                <a:ea typeface="+mn-ea"/>
                <a:cs typeface="+mn-cs"/>
              </a:rPr>
              <a:t>01.</a:t>
            </a: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Trainer’s Introduction</a:t>
            </a:r>
          </a:p>
          <a:p>
            <a:pPr marL="165100" marR="0" lvl="0" indent="-165100" algn="l" defTabSz="912813" rtl="0" eaLnBrk="1" fontAlgn="base" latinLnBrk="0" hangingPunct="1">
              <a:lnSpc>
                <a:spcPct val="100000"/>
              </a:lnSpc>
              <a:spcBef>
                <a:spcPct val="10000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chemeClr val="hlink"/>
                </a:solidFill>
                <a:effectLst/>
                <a:uLnTx/>
                <a:uFillTx/>
                <a:latin typeface="Arial" charset="0"/>
                <a:ea typeface="+mn-ea"/>
                <a:cs typeface="+mn-cs"/>
              </a:rPr>
              <a:t>02.</a:t>
            </a: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Participant’s Introduction</a:t>
            </a:r>
          </a:p>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 Name </a:t>
            </a:r>
          </a:p>
          <a:p>
            <a:pPr marL="165100" marR="0" lvl="0" indent="-165100" algn="l" defTabSz="912813" rtl="0" eaLnBrk="1" fontAlgn="base" latinLnBrk="0" hangingPunct="1">
              <a:lnSpc>
                <a:spcPct val="100000"/>
              </a:lnSpc>
              <a:spcBef>
                <a:spcPct val="0"/>
              </a:spcBef>
              <a:spcAft>
                <a:spcPct val="0"/>
              </a:spcAft>
              <a:buClr>
                <a:srgbClr val="0098C7"/>
              </a:buClr>
              <a:buSzTx/>
              <a:buFont typeface="Webdings" pitchFamily="18" charset="2"/>
              <a:buNone/>
              <a:tabLst/>
              <a:defRPr/>
            </a:pPr>
            <a:r>
              <a:rPr kumimoji="0" lang="en-US" sz="2200" b="0" i="0" u="none" strike="noStrike" kern="1200" cap="none" spc="0" normalizeH="0" baseline="0" noProof="0" dirty="0" smtClean="0">
                <a:ln>
                  <a:noFill/>
                </a:ln>
                <a:solidFill>
                  <a:srgbClr val="4E4641"/>
                </a:solidFill>
                <a:effectLst/>
                <a:uLnTx/>
                <a:uFillTx/>
                <a:latin typeface="Arial" charset="0"/>
                <a:ea typeface="+mn-ea"/>
                <a:cs typeface="+mn-cs"/>
              </a:rPr>
              <a:t>	   - </a:t>
            </a:r>
            <a:r>
              <a:rPr lang="en-US" sz="2200" dirty="0" smtClean="0">
                <a:solidFill>
                  <a:srgbClr val="4E4641"/>
                </a:solidFill>
                <a:latin typeface="Arial" charset="0"/>
                <a:cs typeface="+mn-cs"/>
              </a:rPr>
              <a:t>View on Quality</a:t>
            </a: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355600" marR="0" lvl="1" indent="-180975" algn="l" defTabSz="912813" rtl="0" eaLnBrk="1" fontAlgn="base" latinLnBrk="0" hangingPunct="1">
              <a:lnSpc>
                <a:spcPct val="100000"/>
              </a:lnSpc>
              <a:spcBef>
                <a:spcPct val="0"/>
              </a:spcBef>
              <a:spcAft>
                <a:spcPct val="0"/>
              </a:spcAft>
              <a:buClr>
                <a:srgbClr val="AC2B3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blinds(horizontal)">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blinds(horizontal)">
                                      <p:cBhvr>
                                        <p:cTn id="12" dur="500"/>
                                        <p:tgtEl>
                                          <p:spTgt spid="4">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blinds(horizontal)">
                                      <p:cBhvr>
                                        <p:cTn id="15" dur="500"/>
                                        <p:tgtEl>
                                          <p:spTgt spid="4">
                                            <p:txEl>
                                              <p:pRg st="2" end="2"/>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blinds(horizontal)">
                                      <p:cBhvr>
                                        <p:cTn id="18"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606823"/>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b="1" u="sng"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What is Quality Management System (QMS)?</a:t>
            </a:r>
          </a:p>
        </p:txBody>
      </p:sp>
      <p:pic>
        <p:nvPicPr>
          <p:cNvPr id="5" name="Picture 4" descr="D:\Users\sacmane\Downloads\shutterstock_290031920.jpg"/>
          <p:cNvPicPr>
            <a:picLocks noChangeAspect="1" noChangeArrowheads="1"/>
          </p:cNvPicPr>
          <p:nvPr/>
        </p:nvPicPr>
        <p:blipFill>
          <a:blip r:embed="rId3" cstate="print"/>
          <a:srcRect l="-1833" r="28180"/>
          <a:stretch>
            <a:fillRect/>
          </a:stretch>
        </p:blipFill>
        <p:spPr bwMode="auto">
          <a:xfrm>
            <a:off x="304490" y="1598315"/>
            <a:ext cx="3258475" cy="3770776"/>
          </a:xfrm>
          <a:prstGeom prst="ellipse">
            <a:avLst/>
          </a:prstGeom>
          <a:ln w="63500" cap="rnd">
            <a:solidFill>
              <a:schemeClr val="tx1"/>
            </a:solidFill>
          </a:ln>
          <a:effectLst>
            <a:outerShdw blurRad="50800" dist="38099" dir="2700015" rotWithShape="0">
              <a:scrgbClr r="0" g="0" b="0">
                <a:alpha val="40000"/>
              </a:scrgbClr>
            </a:outerShdw>
          </a:effectLst>
          <a:scene3d>
            <a:camera prst="orthographicFront"/>
            <a:lightRig rig="contrasting" dir="t">
              <a:rot lat="0" lon="0" rev="3000000"/>
            </a:lightRig>
          </a:scene3d>
          <a:sp3d contourW="7620">
            <a:bevelT w="95250" h="31750"/>
            <a:contourClr>
              <a:srgbClr val="333333"/>
            </a:contourClr>
          </a:sp3d>
        </p:spPr>
      </p:pic>
      <p:sp>
        <p:nvSpPr>
          <p:cNvPr id="7" name="Rectangle 6"/>
          <p:cNvSpPr/>
          <p:nvPr/>
        </p:nvSpPr>
        <p:spPr>
          <a:xfrm>
            <a:off x="308348" y="5424685"/>
            <a:ext cx="3350481" cy="480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t"/>
          <a:lstStyle/>
          <a:p>
            <a:pPr algn="ctr">
              <a:spcBef>
                <a:spcPts val="939"/>
              </a:spcBef>
              <a:buClr>
                <a:schemeClr val="tx1"/>
              </a:buClr>
              <a:defRPr/>
            </a:pPr>
            <a:r>
              <a:rPr lang="en-GB" altLang="en-US" sz="2100" dirty="0" smtClean="0">
                <a:solidFill>
                  <a:srgbClr val="000000"/>
                </a:solidFill>
                <a:latin typeface="Calibri" pitchFamily="34" charset="0"/>
                <a:cs typeface="Arial" pitchFamily="34" charset="0"/>
              </a:rPr>
              <a:t>QMS Path: </a:t>
            </a:r>
            <a:r>
              <a:rPr lang="en-GB" sz="2100" u="sng" dirty="0" smtClean="0">
                <a:solidFill>
                  <a:srgbClr val="000000"/>
                </a:solidFill>
                <a:latin typeface="Calibri" pitchFamily="34" charset="0"/>
                <a:hlinkClick r:id="rId4"/>
              </a:rPr>
              <a:t>http://qa.in.capgemini.com</a:t>
            </a:r>
            <a:r>
              <a:rPr lang="en-GB" sz="2100" u="sng" dirty="0" smtClean="0">
                <a:solidFill>
                  <a:srgbClr val="000000"/>
                </a:solidFill>
                <a:latin typeface="Calibri" pitchFamily="34" charset="0"/>
              </a:rPr>
              <a:t> </a:t>
            </a:r>
            <a:endParaRPr lang="en-GB" sz="2100" dirty="0">
              <a:solidFill>
                <a:srgbClr val="000000"/>
              </a:solidFill>
              <a:latin typeface="Calibri" pitchFamily="34" charset="0"/>
              <a:cs typeface="Arial" pitchFamily="34" charset="0"/>
            </a:endParaRPr>
          </a:p>
        </p:txBody>
      </p:sp>
      <p:grpSp>
        <p:nvGrpSpPr>
          <p:cNvPr id="9" name="Group 44"/>
          <p:cNvGrpSpPr/>
          <p:nvPr/>
        </p:nvGrpSpPr>
        <p:grpSpPr>
          <a:xfrm>
            <a:off x="3407866" y="3119547"/>
            <a:ext cx="6094514" cy="1194861"/>
            <a:chOff x="3199978" y="2123677"/>
            <a:chExt cx="5625705" cy="896146"/>
          </a:xfrm>
        </p:grpSpPr>
        <p:sp>
          <p:nvSpPr>
            <p:cNvPr id="10" name="Oval 9"/>
            <p:cNvSpPr/>
            <p:nvPr/>
          </p:nvSpPr>
          <p:spPr>
            <a:xfrm>
              <a:off x="3199978" y="2305941"/>
              <a:ext cx="471583" cy="471577"/>
            </a:xfrm>
            <a:prstGeom prst="ellipse">
              <a:avLst/>
            </a:prstGeom>
            <a:ln/>
            <a:effectLst>
              <a:outerShdw blurRad="50800" dist="38099" dir="2700015" rotWithShape="0">
                <a:scrgbClr r="0" g="0" b="0">
                  <a:alpha val="40000"/>
                </a:scrgb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smtClean="0">
                <a:solidFill>
                  <a:schemeClr val="tx1">
                    <a:lumMod val="75000"/>
                    <a:lumOff val="25000"/>
                  </a:schemeClr>
                </a:solidFill>
                <a:latin typeface="Calibri" pitchFamily="34" charset="0"/>
                <a:cs typeface="Calibri" pitchFamily="34" charset="0"/>
              </a:endParaRPr>
            </a:p>
          </p:txBody>
        </p:sp>
        <p:sp>
          <p:nvSpPr>
            <p:cNvPr id="11" name="Rounded Rectangle 10"/>
            <p:cNvSpPr/>
            <p:nvPr/>
          </p:nvSpPr>
          <p:spPr>
            <a:xfrm>
              <a:off x="3887923" y="2123677"/>
              <a:ext cx="493776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smtClean="0">
                  <a:solidFill>
                    <a:srgbClr val="000000"/>
                  </a:solidFill>
                  <a:latin typeface="Calibri" pitchFamily="34" charset="0"/>
                  <a:cs typeface="Arial" pitchFamily="34" charset="0"/>
                </a:rPr>
                <a:t>It consists of a set of policies, procedures, guidelines, tools, templates and checklists, required for planning and execution of product or service in an organization</a:t>
              </a:r>
            </a:p>
          </p:txBody>
        </p:sp>
      </p:grpSp>
      <p:grpSp>
        <p:nvGrpSpPr>
          <p:cNvPr id="12" name="Group 43"/>
          <p:cNvGrpSpPr/>
          <p:nvPr/>
        </p:nvGrpSpPr>
        <p:grpSpPr>
          <a:xfrm>
            <a:off x="3042545" y="1592460"/>
            <a:ext cx="6321583" cy="1194861"/>
            <a:chOff x="2724636" y="1000781"/>
            <a:chExt cx="5835307" cy="896146"/>
          </a:xfrm>
        </p:grpSpPr>
        <p:sp>
          <p:nvSpPr>
            <p:cNvPr id="13" name="Oval 12"/>
            <p:cNvSpPr/>
            <p:nvPr/>
          </p:nvSpPr>
          <p:spPr>
            <a:xfrm>
              <a:off x="2724636" y="1407620"/>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smtClean="0">
                <a:solidFill>
                  <a:schemeClr val="tx1">
                    <a:lumMod val="75000"/>
                    <a:lumOff val="25000"/>
                  </a:schemeClr>
                </a:solidFill>
                <a:latin typeface="Calibri" pitchFamily="34" charset="0"/>
                <a:cs typeface="Calibri" pitchFamily="34" charset="0"/>
              </a:endParaRPr>
            </a:p>
          </p:txBody>
        </p:sp>
        <p:sp>
          <p:nvSpPr>
            <p:cNvPr id="14" name="Rounded Rectangle 13"/>
            <p:cNvSpPr/>
            <p:nvPr/>
          </p:nvSpPr>
          <p:spPr>
            <a:xfrm>
              <a:off x="3347863" y="1000781"/>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smtClean="0">
                  <a:solidFill>
                    <a:srgbClr val="000000"/>
                  </a:solidFill>
                  <a:latin typeface="Calibri" pitchFamily="34" charset="0"/>
                  <a:cs typeface="Arial" pitchFamily="34" charset="0"/>
                </a:rPr>
                <a:t>Capgemini India Quality Management System (QMS) provides the systematic approach to meet customer requirements resulting into the desired service or product</a:t>
              </a:r>
            </a:p>
          </p:txBody>
        </p:sp>
      </p:grpSp>
      <p:grpSp>
        <p:nvGrpSpPr>
          <p:cNvPr id="15" name="Group 45"/>
          <p:cNvGrpSpPr/>
          <p:nvPr/>
        </p:nvGrpSpPr>
        <p:grpSpPr>
          <a:xfrm>
            <a:off x="2963779" y="4586850"/>
            <a:ext cx="6260548" cy="1194861"/>
            <a:chOff x="2724636" y="3246573"/>
            <a:chExt cx="5778967" cy="896146"/>
          </a:xfrm>
        </p:grpSpPr>
        <p:sp>
          <p:nvSpPr>
            <p:cNvPr id="16" name="Oval 15"/>
            <p:cNvSpPr/>
            <p:nvPr/>
          </p:nvSpPr>
          <p:spPr>
            <a:xfrm>
              <a:off x="2724636" y="3275896"/>
              <a:ext cx="471583" cy="471577"/>
            </a:xfrm>
            <a:prstGeom prst="ellipse">
              <a:avLst/>
            </a:prstGeom>
            <a:ln/>
            <a:effectLst>
              <a:outerShdw blurRad="50800" dist="38100" dir="2700000" algn="tl"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lIns="91440" rtlCol="0" anchor="ctr"/>
            <a:lstStyle/>
            <a:p>
              <a:pPr algn="ctr"/>
              <a:endParaRPr lang="en-GB" sz="2100" dirty="0" smtClean="0">
                <a:solidFill>
                  <a:schemeClr val="tx1">
                    <a:lumMod val="75000"/>
                    <a:lumOff val="25000"/>
                  </a:schemeClr>
                </a:solidFill>
                <a:latin typeface="Calibri" pitchFamily="34" charset="0"/>
                <a:cs typeface="Calibri" pitchFamily="34" charset="0"/>
              </a:endParaRPr>
            </a:p>
          </p:txBody>
        </p:sp>
        <p:sp>
          <p:nvSpPr>
            <p:cNvPr id="17" name="Rounded Rectangle 16"/>
            <p:cNvSpPr/>
            <p:nvPr/>
          </p:nvSpPr>
          <p:spPr>
            <a:xfrm>
              <a:off x="3291523" y="3246573"/>
              <a:ext cx="5212080" cy="896146"/>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dirty="0" smtClean="0">
                  <a:solidFill>
                    <a:srgbClr val="000000"/>
                  </a:solidFill>
                  <a:latin typeface="Calibri" pitchFamily="34" charset="0"/>
                  <a:cs typeface="Arial" pitchFamily="34" charset="0"/>
                </a:rPr>
                <a:t>It integrates the various internal processes within </a:t>
              </a:r>
              <a:br>
                <a:rPr lang="en-GB" altLang="en-US" dirty="0" smtClean="0">
                  <a:solidFill>
                    <a:srgbClr val="000000"/>
                  </a:solidFill>
                  <a:latin typeface="Calibri" pitchFamily="34" charset="0"/>
                  <a:cs typeface="Arial" pitchFamily="34" charset="0"/>
                </a:rPr>
              </a:br>
              <a:r>
                <a:rPr lang="en-GB" altLang="en-US" dirty="0" smtClean="0">
                  <a:solidFill>
                    <a:srgbClr val="000000"/>
                  </a:solidFill>
                  <a:latin typeface="Calibri" pitchFamily="34" charset="0"/>
                  <a:cs typeface="Arial" pitchFamily="34" charset="0"/>
                </a:rPr>
                <a:t>the organization and intends to provide a process </a:t>
              </a:r>
              <a:br>
                <a:rPr lang="en-GB" altLang="en-US" dirty="0" smtClean="0">
                  <a:solidFill>
                    <a:srgbClr val="000000"/>
                  </a:solidFill>
                  <a:latin typeface="Calibri" pitchFamily="34" charset="0"/>
                  <a:cs typeface="Arial" pitchFamily="34" charset="0"/>
                </a:rPr>
              </a:br>
              <a:r>
                <a:rPr lang="en-GB" altLang="en-US" dirty="0" smtClean="0">
                  <a:solidFill>
                    <a:srgbClr val="000000"/>
                  </a:solidFill>
                  <a:latin typeface="Calibri" pitchFamily="34" charset="0"/>
                  <a:cs typeface="Arial" pitchFamily="34" charset="0"/>
                </a:rPr>
                <a:t>approach for project execution</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smtClean="0">
                <a:solidFill>
                  <a:schemeClr val="tx1"/>
                </a:solidFill>
              </a:rPr>
              <a:t>QMS Structure</a:t>
            </a:r>
            <a:endParaRPr lang="en-US" sz="2400" dirty="0">
              <a:solidFill>
                <a:schemeClr val="tx1"/>
              </a:solidFill>
            </a:endParaRPr>
          </a:p>
        </p:txBody>
      </p:sp>
      <p:grpSp>
        <p:nvGrpSpPr>
          <p:cNvPr id="15" name="Group 14"/>
          <p:cNvGrpSpPr/>
          <p:nvPr/>
        </p:nvGrpSpPr>
        <p:grpSpPr>
          <a:xfrm>
            <a:off x="890419" y="1308410"/>
            <a:ext cx="8346177" cy="4965067"/>
            <a:chOff x="774700" y="1181100"/>
            <a:chExt cx="7556500" cy="4591050"/>
          </a:xfrm>
        </p:grpSpPr>
        <p:graphicFrame>
          <p:nvGraphicFramePr>
            <p:cNvPr id="16" name="Object 4"/>
            <p:cNvGraphicFramePr>
              <a:graphicFrameLocks noGrp="1" noChangeAspect="1"/>
            </p:cNvGraphicFramePr>
            <p:nvPr>
              <p:ph idx="1"/>
            </p:nvPr>
          </p:nvGraphicFramePr>
          <p:xfrm>
            <a:off x="1155700" y="1576388"/>
            <a:ext cx="5889625" cy="4195762"/>
          </p:xfrm>
          <a:graphic>
            <a:graphicData uri="http://schemas.openxmlformats.org/presentationml/2006/ole">
              <mc:AlternateContent xmlns:mc="http://schemas.openxmlformats.org/markup-compatibility/2006">
                <mc:Choice xmlns:v="urn:schemas-microsoft-com:vml" Requires="v">
                  <p:oleObj spid="_x0000_s98322" name="Flash Movie" r:id="rId4" imgW="5445720" imgH="4196160" progId="">
                    <p:embed/>
                  </p:oleObj>
                </mc:Choice>
                <mc:Fallback>
                  <p:oleObj name="Flash Movie" r:id="rId4" imgW="5445720" imgH="4196160" progId="">
                    <p:embed/>
                    <p:pic>
                      <p:nvPicPr>
                        <p:cNvPr id="0" name="Picture 11"/>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700" y="1576388"/>
                          <a:ext cx="5889625" cy="419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 Box 7"/>
            <p:cNvSpPr txBox="1">
              <a:spLocks noChangeArrowheads="1"/>
            </p:cNvSpPr>
            <p:nvPr/>
          </p:nvSpPr>
          <p:spPr bwMode="auto">
            <a:xfrm>
              <a:off x="3313113" y="2166938"/>
              <a:ext cx="1123950" cy="495300"/>
            </a:xfrm>
            <a:prstGeom prst="rect">
              <a:avLst/>
            </a:prstGeom>
            <a:noFill/>
            <a:ln w="9525" algn="ctr">
              <a:noFill/>
              <a:miter lim="800000"/>
              <a:headEnd/>
              <a:tailEnd/>
            </a:ln>
          </p:spPr>
          <p:txBody>
            <a:bodyPr lIns="0" tIns="0" rIns="0" bIns="0" anchor="b">
              <a:spAutoFit/>
            </a:bodyPr>
            <a:lstStyle/>
            <a:p>
              <a:pPr algn="ctr"/>
              <a:r>
                <a:rPr lang="en-US" sz="1200" i="0" dirty="0">
                  <a:latin typeface="Arial" charset="0"/>
                </a:rPr>
                <a:t>Capgemini India Quality Manual</a:t>
              </a:r>
            </a:p>
          </p:txBody>
        </p:sp>
        <p:sp>
          <p:nvSpPr>
            <p:cNvPr id="18" name="Text Box 8"/>
            <p:cNvSpPr txBox="1">
              <a:spLocks noChangeArrowheads="1"/>
            </p:cNvSpPr>
            <p:nvPr/>
          </p:nvSpPr>
          <p:spPr bwMode="auto">
            <a:xfrm>
              <a:off x="3173413" y="2919413"/>
              <a:ext cx="1309687"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Methods and </a:t>
              </a:r>
            </a:p>
            <a:p>
              <a:pPr algn="ctr"/>
              <a:r>
                <a:rPr lang="en-US" sz="1600" i="0" dirty="0">
                  <a:latin typeface="Arial" charset="0"/>
                </a:rPr>
                <a:t>processes</a:t>
              </a:r>
            </a:p>
          </p:txBody>
        </p:sp>
        <p:sp>
          <p:nvSpPr>
            <p:cNvPr id="19" name="Text Box 9"/>
            <p:cNvSpPr txBox="1">
              <a:spLocks noChangeArrowheads="1"/>
            </p:cNvSpPr>
            <p:nvPr/>
          </p:nvSpPr>
          <p:spPr bwMode="auto">
            <a:xfrm>
              <a:off x="2525713" y="3910013"/>
              <a:ext cx="2644775" cy="441325"/>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Guidelines, Checklists and </a:t>
              </a:r>
            </a:p>
            <a:p>
              <a:pPr algn="ctr"/>
              <a:r>
                <a:rPr lang="en-US" sz="1600" i="0" dirty="0">
                  <a:latin typeface="Arial" charset="0"/>
                </a:rPr>
                <a:t>Templates</a:t>
              </a:r>
            </a:p>
          </p:txBody>
        </p:sp>
        <p:sp>
          <p:nvSpPr>
            <p:cNvPr id="20" name="Text Box 11"/>
            <p:cNvSpPr txBox="1">
              <a:spLocks noChangeArrowheads="1"/>
            </p:cNvSpPr>
            <p:nvPr/>
          </p:nvSpPr>
          <p:spPr bwMode="auto">
            <a:xfrm>
              <a:off x="1828800" y="4965700"/>
              <a:ext cx="4089400" cy="581025"/>
            </a:xfrm>
            <a:prstGeom prst="rect">
              <a:avLst/>
            </a:prstGeom>
            <a:noFill/>
            <a:ln w="9525">
              <a:noFill/>
              <a:miter lim="800000"/>
              <a:headEnd type="none" w="sm" len="sm"/>
              <a:tailEnd type="none" w="sm" len="sm"/>
            </a:ln>
          </p:spPr>
          <p:txBody>
            <a:bodyPr>
              <a:spAutoFit/>
            </a:bodyPr>
            <a:lstStyle/>
            <a:p>
              <a:pPr algn="ctr">
                <a:lnSpc>
                  <a:spcPct val="100000"/>
                </a:lnSpc>
              </a:pPr>
              <a:r>
                <a:rPr lang="en-US" sz="1600" i="0" dirty="0">
                  <a:latin typeface="Arial" charset="0"/>
                </a:rPr>
                <a:t>Records. Documents validating that the QMS requirements have been met</a:t>
              </a:r>
            </a:p>
          </p:txBody>
        </p:sp>
        <p:sp>
          <p:nvSpPr>
            <p:cNvPr id="21" name="Text Box 12"/>
            <p:cNvSpPr txBox="1">
              <a:spLocks noChangeArrowheads="1"/>
            </p:cNvSpPr>
            <p:nvPr/>
          </p:nvSpPr>
          <p:spPr bwMode="auto">
            <a:xfrm>
              <a:off x="2705100" y="19716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1</a:t>
              </a:r>
            </a:p>
          </p:txBody>
        </p:sp>
        <p:sp>
          <p:nvSpPr>
            <p:cNvPr id="22" name="Text Box 13"/>
            <p:cNvSpPr txBox="1">
              <a:spLocks noChangeArrowheads="1"/>
            </p:cNvSpPr>
            <p:nvPr/>
          </p:nvSpPr>
          <p:spPr bwMode="auto">
            <a:xfrm>
              <a:off x="2057400" y="2911475"/>
              <a:ext cx="688975" cy="220663"/>
            </a:xfrm>
            <a:prstGeom prst="rect">
              <a:avLst/>
            </a:prstGeom>
            <a:noFill/>
            <a:ln w="9525" algn="ctr">
              <a:noFill/>
              <a:miter lim="800000"/>
              <a:headEnd/>
              <a:tailEnd/>
            </a:ln>
          </p:spPr>
          <p:txBody>
            <a:bodyPr wrap="none" lIns="0" tIns="0" rIns="0" bIns="0" anchor="b">
              <a:spAutoFit/>
            </a:bodyPr>
            <a:lstStyle/>
            <a:p>
              <a:pPr algn="ctr"/>
              <a:r>
                <a:rPr lang="en-US" sz="1600" i="0" dirty="0">
                  <a:latin typeface="Arial" charset="0"/>
                </a:rPr>
                <a:t>Level 2</a:t>
              </a:r>
            </a:p>
          </p:txBody>
        </p:sp>
        <p:sp>
          <p:nvSpPr>
            <p:cNvPr id="23" name="Text Box 14"/>
            <p:cNvSpPr txBox="1">
              <a:spLocks noChangeArrowheads="1"/>
            </p:cNvSpPr>
            <p:nvPr/>
          </p:nvSpPr>
          <p:spPr bwMode="auto">
            <a:xfrm>
              <a:off x="1485900" y="39401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3</a:t>
              </a:r>
            </a:p>
          </p:txBody>
        </p:sp>
        <p:sp>
          <p:nvSpPr>
            <p:cNvPr id="24" name="Text Box 15"/>
            <p:cNvSpPr txBox="1">
              <a:spLocks noChangeArrowheads="1"/>
            </p:cNvSpPr>
            <p:nvPr/>
          </p:nvSpPr>
          <p:spPr bwMode="auto">
            <a:xfrm>
              <a:off x="774700" y="5032375"/>
              <a:ext cx="688975" cy="220663"/>
            </a:xfrm>
            <a:prstGeom prst="rect">
              <a:avLst/>
            </a:prstGeom>
            <a:noFill/>
            <a:ln w="9525" algn="ctr">
              <a:noFill/>
              <a:miter lim="800000"/>
              <a:headEnd/>
              <a:tailEnd/>
            </a:ln>
          </p:spPr>
          <p:txBody>
            <a:bodyPr wrap="none" lIns="0" tIns="0" rIns="0" bIns="0" anchor="b">
              <a:spAutoFit/>
            </a:bodyPr>
            <a:lstStyle/>
            <a:p>
              <a:pPr algn="ctr"/>
              <a:r>
                <a:rPr lang="en-US" sz="1600" i="0">
                  <a:latin typeface="Arial" charset="0"/>
                </a:rPr>
                <a:t>Level 4</a:t>
              </a:r>
            </a:p>
          </p:txBody>
        </p:sp>
        <p:sp>
          <p:nvSpPr>
            <p:cNvPr id="25" name="Rectangle 16"/>
            <p:cNvSpPr>
              <a:spLocks noChangeArrowheads="1"/>
            </p:cNvSpPr>
            <p:nvPr/>
          </p:nvSpPr>
          <p:spPr bwMode="auto">
            <a:xfrm>
              <a:off x="4165600" y="11811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Quality Policy</a:t>
              </a:r>
            </a:p>
            <a:p>
              <a:pPr>
                <a:lnSpc>
                  <a:spcPct val="100000"/>
                </a:lnSpc>
                <a:spcBef>
                  <a:spcPct val="25000"/>
                </a:spcBef>
                <a:buFontTx/>
                <a:buChar char="•"/>
              </a:pPr>
              <a:r>
                <a:rPr lang="en-US" sz="1200" i="0"/>
                <a:t> Roles &amp; responsibility</a:t>
              </a:r>
            </a:p>
            <a:p>
              <a:pPr>
                <a:lnSpc>
                  <a:spcPct val="100000"/>
                </a:lnSpc>
                <a:spcBef>
                  <a:spcPct val="25000"/>
                </a:spcBef>
                <a:buFontTx/>
                <a:buChar char="•"/>
              </a:pPr>
              <a:r>
                <a:rPr lang="en-US" sz="1200" i="0"/>
                <a:t> Management Reviews </a:t>
              </a:r>
            </a:p>
            <a:p>
              <a:pPr>
                <a:lnSpc>
                  <a:spcPct val="100000"/>
                </a:lnSpc>
                <a:spcBef>
                  <a:spcPct val="25000"/>
                </a:spcBef>
                <a:buFontTx/>
                <a:buChar char="•"/>
              </a:pPr>
              <a:r>
                <a:rPr lang="en-US" sz="1200" i="0"/>
                <a:t> Quality Planning </a:t>
              </a:r>
            </a:p>
          </p:txBody>
        </p:sp>
        <p:sp>
          <p:nvSpPr>
            <p:cNvPr id="26" name="Rectangle 17"/>
            <p:cNvSpPr>
              <a:spLocks noChangeArrowheads="1"/>
            </p:cNvSpPr>
            <p:nvPr/>
          </p:nvSpPr>
          <p:spPr bwMode="auto">
            <a:xfrm>
              <a:off x="6350000" y="4343400"/>
              <a:ext cx="19812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Senior Management Reviews</a:t>
              </a:r>
            </a:p>
            <a:p>
              <a:pPr>
                <a:lnSpc>
                  <a:spcPct val="100000"/>
                </a:lnSpc>
                <a:spcBef>
                  <a:spcPct val="25000"/>
                </a:spcBef>
                <a:buFontTx/>
                <a:buChar char="•"/>
              </a:pPr>
              <a:r>
                <a:rPr lang="en-US" sz="1200" i="0"/>
                <a:t>Audit Report</a:t>
              </a:r>
            </a:p>
            <a:p>
              <a:pPr>
                <a:lnSpc>
                  <a:spcPct val="100000"/>
                </a:lnSpc>
                <a:spcBef>
                  <a:spcPct val="25000"/>
                </a:spcBef>
                <a:buFontTx/>
                <a:buChar char="•"/>
              </a:pPr>
              <a:r>
                <a:rPr lang="en-US" sz="1200" i="0"/>
                <a:t> Review Log</a:t>
              </a:r>
            </a:p>
            <a:p>
              <a:pPr>
                <a:lnSpc>
                  <a:spcPct val="100000"/>
                </a:lnSpc>
                <a:spcBef>
                  <a:spcPct val="25000"/>
                </a:spcBef>
                <a:buFontTx/>
                <a:buChar char="•"/>
              </a:pPr>
              <a:r>
                <a:rPr lang="en-US" sz="1200" i="0"/>
                <a:t> Status Report</a:t>
              </a:r>
            </a:p>
          </p:txBody>
        </p:sp>
        <p:sp>
          <p:nvSpPr>
            <p:cNvPr id="27" name="Rectangle 18"/>
            <p:cNvSpPr>
              <a:spLocks noChangeArrowheads="1"/>
            </p:cNvSpPr>
            <p:nvPr/>
          </p:nvSpPr>
          <p:spPr bwMode="auto">
            <a:xfrm>
              <a:off x="5727700" y="3162300"/>
              <a:ext cx="1905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S/w Development Plan</a:t>
              </a:r>
            </a:p>
            <a:p>
              <a:pPr>
                <a:lnSpc>
                  <a:spcPct val="100000"/>
                </a:lnSpc>
                <a:spcBef>
                  <a:spcPct val="25000"/>
                </a:spcBef>
                <a:buFontTx/>
                <a:buChar char="•"/>
              </a:pPr>
              <a:r>
                <a:rPr lang="en-US" sz="1200" i="0"/>
                <a:t> Peer Review</a:t>
              </a:r>
            </a:p>
            <a:p>
              <a:pPr>
                <a:lnSpc>
                  <a:spcPct val="100000"/>
                </a:lnSpc>
                <a:spcBef>
                  <a:spcPct val="25000"/>
                </a:spcBef>
                <a:buFontTx/>
                <a:buChar char="•"/>
              </a:pPr>
              <a:r>
                <a:rPr lang="en-US" sz="1200" i="0"/>
                <a:t> Test Log</a:t>
              </a:r>
            </a:p>
            <a:p>
              <a:pPr>
                <a:lnSpc>
                  <a:spcPct val="100000"/>
                </a:lnSpc>
                <a:spcBef>
                  <a:spcPct val="25000"/>
                </a:spcBef>
                <a:buFontTx/>
                <a:buChar char="•"/>
              </a:pPr>
              <a:r>
                <a:rPr lang="en-US" sz="1200" i="0"/>
                <a:t> Metrics Sheet</a:t>
              </a:r>
            </a:p>
          </p:txBody>
        </p:sp>
        <p:sp>
          <p:nvSpPr>
            <p:cNvPr id="28" name="Rectangle 19"/>
            <p:cNvSpPr>
              <a:spLocks noChangeArrowheads="1"/>
            </p:cNvSpPr>
            <p:nvPr/>
          </p:nvSpPr>
          <p:spPr bwMode="auto">
            <a:xfrm>
              <a:off x="4978400" y="2095500"/>
              <a:ext cx="2286000" cy="960438"/>
            </a:xfrm>
            <a:prstGeom prst="rect">
              <a:avLst/>
            </a:prstGeom>
            <a:noFill/>
            <a:ln w="9525">
              <a:noFill/>
              <a:miter lim="800000"/>
              <a:headEnd type="none" w="sm" len="sm"/>
              <a:tailEnd type="none" w="sm" len="sm"/>
            </a:ln>
          </p:spPr>
          <p:txBody>
            <a:bodyPr>
              <a:spAutoFit/>
            </a:bodyPr>
            <a:lstStyle/>
            <a:p>
              <a:pPr>
                <a:lnSpc>
                  <a:spcPct val="100000"/>
                </a:lnSpc>
                <a:spcBef>
                  <a:spcPct val="50000"/>
                </a:spcBef>
                <a:buFontTx/>
                <a:buChar char="•"/>
              </a:pPr>
              <a:r>
                <a:rPr lang="en-US" sz="1200" i="0"/>
                <a:t> Project Planning &amp; Tracking</a:t>
              </a:r>
            </a:p>
            <a:p>
              <a:pPr>
                <a:lnSpc>
                  <a:spcPct val="100000"/>
                </a:lnSpc>
                <a:spcBef>
                  <a:spcPct val="25000"/>
                </a:spcBef>
                <a:buFontTx/>
                <a:buChar char="•"/>
              </a:pPr>
              <a:r>
                <a:rPr lang="en-US" sz="1200" i="0"/>
                <a:t> Estimation &amp; Risk Management</a:t>
              </a:r>
            </a:p>
            <a:p>
              <a:pPr>
                <a:lnSpc>
                  <a:spcPct val="100000"/>
                </a:lnSpc>
                <a:spcBef>
                  <a:spcPct val="25000"/>
                </a:spcBef>
                <a:buFontTx/>
                <a:buChar char="•"/>
              </a:pPr>
              <a:r>
                <a:rPr lang="en-US" sz="1200" i="0"/>
                <a:t> S/w Engineering Process</a:t>
              </a:r>
            </a:p>
            <a:p>
              <a:pPr>
                <a:lnSpc>
                  <a:spcPct val="100000"/>
                </a:lnSpc>
                <a:spcBef>
                  <a:spcPct val="25000"/>
                </a:spcBef>
                <a:buFontTx/>
                <a:buChar char="•"/>
              </a:pPr>
              <a:r>
                <a:rPr lang="en-US" sz="1200" i="0"/>
                <a:t> Metrics Management</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a:solidFill>
                  <a:schemeClr val="tx1"/>
                </a:solidFill>
              </a:rPr>
              <a:t>What is Quality Policy? </a:t>
            </a:r>
          </a:p>
        </p:txBody>
      </p:sp>
      <p:sp>
        <p:nvSpPr>
          <p:cNvPr id="21" name="Rounded Rectangle 20"/>
          <p:cNvSpPr/>
          <p:nvPr/>
        </p:nvSpPr>
        <p:spPr>
          <a:xfrm>
            <a:off x="548640" y="1234440"/>
            <a:ext cx="9070340" cy="96774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lvl="1"/>
            <a:r>
              <a:rPr lang="en-US" sz="1400" dirty="0" smtClean="0">
                <a:solidFill>
                  <a:schemeClr val="tx2">
                    <a:lumMod val="50000"/>
                  </a:schemeClr>
                </a:solidFill>
              </a:rPr>
              <a:t>A quality policy is a statement issued by management and quality experts to express the quality objectives of the organization, the acceptable level of quality and the responsibilities of team to ensure quality.</a:t>
            </a:r>
          </a:p>
        </p:txBody>
      </p:sp>
      <p:grpSp>
        <p:nvGrpSpPr>
          <p:cNvPr id="18" name="Group 51"/>
          <p:cNvGrpSpPr/>
          <p:nvPr/>
        </p:nvGrpSpPr>
        <p:grpSpPr>
          <a:xfrm>
            <a:off x="641386" y="2509838"/>
            <a:ext cx="8845513" cy="3649662"/>
            <a:chOff x="311187" y="1112838"/>
            <a:chExt cx="8519220" cy="3215925"/>
          </a:xfrm>
        </p:grpSpPr>
        <p:pic>
          <p:nvPicPr>
            <p:cNvPr id="20" name="Picture 3" descr="C:\Users\sacmane\AppData\Local\Microsoft\Windows\Temporary Internet Files\Content.IE5\82F6EF0I\shutterstock_80545081.jpg"/>
            <p:cNvPicPr>
              <a:picLocks noChangeAspect="1" noChangeArrowheads="1"/>
            </p:cNvPicPr>
            <p:nvPr/>
          </p:nvPicPr>
          <p:blipFill>
            <a:blip r:embed="rId3" cstate="print"/>
            <a:srcRect t="30546" b="16453"/>
            <a:stretch>
              <a:fillRect/>
            </a:stretch>
          </p:blipFill>
          <p:spPr bwMode="auto">
            <a:xfrm>
              <a:off x="311187" y="1112838"/>
              <a:ext cx="8515313" cy="3215925"/>
            </a:xfrm>
            <a:prstGeom prst="rect">
              <a:avLst/>
            </a:prstGeom>
            <a:noFill/>
          </p:spPr>
        </p:pic>
        <p:sp>
          <p:nvSpPr>
            <p:cNvPr id="24" name="Rectangle 23"/>
            <p:cNvSpPr/>
            <p:nvPr/>
          </p:nvSpPr>
          <p:spPr>
            <a:xfrm>
              <a:off x="311187" y="1112838"/>
              <a:ext cx="8519220" cy="3215925"/>
            </a:xfrm>
            <a:prstGeom prst="rect">
              <a:avLst/>
            </a:prstGeom>
            <a:solidFill>
              <a:srgbClr val="FFFFFF">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smtClean="0">
                <a:solidFill>
                  <a:schemeClr val="tx2">
                    <a:lumMod val="50000"/>
                  </a:schemeClr>
                </a:solidFill>
                <a:latin typeface="Calibri"/>
                <a:sym typeface="Calibri"/>
              </a:endParaRPr>
            </a:p>
          </p:txBody>
        </p:sp>
      </p:grpSp>
      <p:grpSp>
        <p:nvGrpSpPr>
          <p:cNvPr id="25" name="Group 15"/>
          <p:cNvGrpSpPr/>
          <p:nvPr/>
        </p:nvGrpSpPr>
        <p:grpSpPr>
          <a:xfrm>
            <a:off x="717587" y="4330295"/>
            <a:ext cx="8519220" cy="1738368"/>
            <a:chOff x="304800" y="3727174"/>
            <a:chExt cx="9296400" cy="2334712"/>
          </a:xfrm>
        </p:grpSpPr>
        <p:sp>
          <p:nvSpPr>
            <p:cNvPr id="26" name="Text Box 6"/>
            <p:cNvSpPr txBox="1">
              <a:spLocks noChangeArrowheads="1"/>
            </p:cNvSpPr>
            <p:nvPr/>
          </p:nvSpPr>
          <p:spPr bwMode="auto">
            <a:xfrm>
              <a:off x="304800" y="3772573"/>
              <a:ext cx="9296400" cy="2289313"/>
            </a:xfrm>
            <a:prstGeom prst="rect">
              <a:avLst/>
            </a:prstGeom>
            <a:solidFill>
              <a:srgbClr val="FFFFFF">
                <a:alpha val="50196"/>
              </a:srgbClr>
            </a:solid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80000" tIns="0" rIns="180000" bIns="36000" anchor="ctr">
              <a:noAutofit/>
            </a:bodyPr>
            <a:lstStyle/>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The OTACE Team publishes the Organizational Level OTACE Report </a:t>
              </a:r>
            </a:p>
            <a:p>
              <a:pPr marL="198872" indent="-198872">
                <a:spcBef>
                  <a:spcPts val="300"/>
                </a:spcBef>
                <a:spcAft>
                  <a:spcPts val="300"/>
                </a:spcAft>
                <a:buClr>
                  <a:schemeClr val="tx1"/>
                </a:buClr>
                <a:buSzPct val="100000"/>
                <a:buFont typeface="Wingdings" pitchFamily="2" charset="2"/>
                <a:buChar char="§"/>
                <a:defRPr/>
              </a:pPr>
              <a:r>
                <a:rPr lang="en-US" altLang="en-US" sz="1800" dirty="0">
                  <a:solidFill>
                    <a:schemeClr val="tx1"/>
                  </a:solidFill>
                  <a:latin typeface="Calibri" pitchFamily="34" charset="0"/>
                  <a:cs typeface="Arial" pitchFamily="34" charset="0"/>
                </a:rPr>
                <a:t>Organizational baseline : OTACE score &gt; = 3.5</a:t>
              </a: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rPr>
                <a:t>E -Val is a Web based tool used to record and report OTACE information across Capgemini </a:t>
              </a:r>
              <a:r>
                <a:rPr lang="en-US" sz="1800" dirty="0" smtClean="0">
                  <a:solidFill>
                    <a:schemeClr val="tx1"/>
                  </a:solidFill>
                  <a:latin typeface="Calibri" pitchFamily="34" charset="0"/>
                  <a:cs typeface="Arial" pitchFamily="34" charset="0"/>
                </a:rPr>
                <a:t>India</a:t>
              </a:r>
              <a:endParaRPr lang="en-US" sz="1800" dirty="0">
                <a:solidFill>
                  <a:schemeClr val="tx1"/>
                </a:solidFill>
                <a:latin typeface="Calibri" pitchFamily="34" charset="0"/>
                <a:cs typeface="Arial" pitchFamily="34" charset="0"/>
              </a:endParaRPr>
            </a:p>
            <a:p>
              <a:pPr marL="198872" indent="-198872">
                <a:spcBef>
                  <a:spcPts val="300"/>
                </a:spcBef>
                <a:spcAft>
                  <a:spcPts val="300"/>
                </a:spcAft>
                <a:buClr>
                  <a:schemeClr val="tx1"/>
                </a:buClr>
                <a:buSzPct val="100000"/>
                <a:buFont typeface="Wingdings" pitchFamily="2" charset="2"/>
                <a:buChar char="§"/>
                <a:defRPr/>
              </a:pPr>
              <a:r>
                <a:rPr lang="en-US" sz="1800" dirty="0">
                  <a:solidFill>
                    <a:schemeClr val="tx1"/>
                  </a:solidFill>
                  <a:latin typeface="Calibri" pitchFamily="34" charset="0"/>
                  <a:cs typeface="Arial" pitchFamily="34" charset="0"/>
                  <a:hlinkClick r:id="rId4"/>
                </a:rPr>
                <a:t>http://groupeval.capgemini.com</a:t>
              </a:r>
              <a:r>
                <a:rPr lang="en-US" sz="1800" dirty="0" smtClean="0">
                  <a:solidFill>
                    <a:schemeClr val="tx1"/>
                  </a:solidFill>
                  <a:latin typeface="Calibri" pitchFamily="34" charset="0"/>
                  <a:cs typeface="Arial" pitchFamily="34" charset="0"/>
                  <a:hlinkClick r:id="rId4"/>
                </a:rPr>
                <a:t>/</a:t>
              </a:r>
              <a:endParaRPr lang="en-US" altLang="en-US" dirty="0">
                <a:solidFill>
                  <a:schemeClr val="tx1"/>
                </a:solidFill>
                <a:latin typeface="Calibri" pitchFamily="34" charset="0"/>
              </a:endParaRPr>
            </a:p>
          </p:txBody>
        </p:sp>
        <p:cxnSp>
          <p:nvCxnSpPr>
            <p:cNvPr id="27" name="Straight Connector 26"/>
            <p:cNvCxnSpPr/>
            <p:nvPr/>
          </p:nvCxnSpPr>
          <p:spPr>
            <a:xfrm>
              <a:off x="304800" y="3806687"/>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04800" y="3727174"/>
              <a:ext cx="9296400" cy="0"/>
            </a:xfrm>
            <a:prstGeom prst="line">
              <a:avLst/>
            </a:prstGeom>
            <a:ln w="2857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29" name="Straight Connector 28"/>
          <p:cNvCxnSpPr/>
          <p:nvPr/>
        </p:nvCxnSpPr>
        <p:spPr bwMode="auto">
          <a:xfrm>
            <a:off x="734818" y="2396977"/>
            <a:ext cx="8454013" cy="0"/>
          </a:xfrm>
          <a:prstGeom prst="line">
            <a:avLst/>
          </a:prstGeom>
          <a:solidFill>
            <a:schemeClr val="tx2"/>
          </a:solidFill>
          <a:ln w="28575" cap="flat" cmpd="sng" algn="ctr">
            <a:solidFill>
              <a:schemeClr val="accent5">
                <a:lumMod val="75000"/>
              </a:schemeClr>
            </a:solidFill>
            <a:prstDash val="solid"/>
            <a:round/>
            <a:headEnd type="oval" w="med" len="med"/>
            <a:tailEnd type="oval" w="med" len="med"/>
          </a:ln>
          <a:effectLst/>
        </p:spPr>
      </p:cxnSp>
      <p:grpSp>
        <p:nvGrpSpPr>
          <p:cNvPr id="30" name="Group 74"/>
          <p:cNvGrpSpPr/>
          <p:nvPr/>
        </p:nvGrpSpPr>
        <p:grpSpPr>
          <a:xfrm>
            <a:off x="1657119" y="3063496"/>
            <a:ext cx="6642562" cy="1095703"/>
            <a:chOff x="951636" y="1730928"/>
            <a:chExt cx="7196109" cy="1460937"/>
          </a:xfrm>
        </p:grpSpPr>
        <p:sp>
          <p:nvSpPr>
            <p:cNvPr id="31" name="Rectangle 30"/>
            <p:cNvSpPr/>
            <p:nvPr/>
          </p:nvSpPr>
          <p:spPr>
            <a:xfrm>
              <a:off x="1917707" y="1745316"/>
              <a:ext cx="6230038" cy="1446549"/>
            </a:xfrm>
            <a:prstGeom prst="rect">
              <a:avLst/>
            </a:prstGeom>
          </p:spPr>
          <p:txBody>
            <a:bodyPr wrap="square">
              <a:spAutoFit/>
            </a:bodyPr>
            <a:lstStyle/>
            <a:p>
              <a:pPr marL="146110" indent="-146110">
                <a:spcBef>
                  <a:spcPts val="256"/>
                </a:spcBef>
              </a:pPr>
              <a:r>
                <a:rPr lang="en-GB" altLang="en-US" sz="3100" b="1" dirty="0" smtClean="0">
                  <a:solidFill>
                    <a:schemeClr val="accent2"/>
                  </a:solidFill>
                  <a:latin typeface="Calibri" pitchFamily="34" charset="0"/>
                </a:rPr>
                <a:t>OTACE: </a:t>
              </a:r>
            </a:p>
            <a:p>
              <a:pPr marL="146110" indent="-146110">
                <a:spcBef>
                  <a:spcPts val="256"/>
                </a:spcBef>
              </a:pPr>
              <a:r>
                <a:rPr lang="en-GB" altLang="en-US" sz="3100" b="1" dirty="0" smtClean="0">
                  <a:solidFill>
                    <a:schemeClr val="accent2"/>
                  </a:solidFill>
                  <a:latin typeface="Calibri" pitchFamily="34" charset="0"/>
                </a:rPr>
                <a:t>O</a:t>
              </a:r>
              <a:r>
                <a:rPr lang="en-GB" altLang="en-US" sz="2400" dirty="0" smtClean="0">
                  <a:latin typeface="Calibri" pitchFamily="34" charset="0"/>
                </a:rPr>
                <a:t>n </a:t>
              </a:r>
              <a:r>
                <a:rPr lang="en-GB" altLang="en-US" sz="3100" b="1" dirty="0" smtClean="0">
                  <a:solidFill>
                    <a:schemeClr val="accent2"/>
                  </a:solidFill>
                  <a:latin typeface="Calibri" pitchFamily="34" charset="0"/>
                </a:rPr>
                <a:t>T</a:t>
              </a:r>
              <a:r>
                <a:rPr lang="en-GB" altLang="en-US" sz="2400" dirty="0" smtClean="0">
                  <a:latin typeface="Calibri" pitchFamily="34" charset="0"/>
                </a:rPr>
                <a:t>ime &amp; </a:t>
              </a:r>
              <a:r>
                <a:rPr lang="en-GB" altLang="en-US" sz="3100" dirty="0" smtClean="0">
                  <a:solidFill>
                    <a:schemeClr val="accent2"/>
                  </a:solidFill>
                  <a:latin typeface="Calibri" pitchFamily="34" charset="0"/>
                </a:rPr>
                <a:t>A</a:t>
              </a:r>
              <a:r>
                <a:rPr lang="en-GB" altLang="en-US" sz="3100" dirty="0" smtClean="0">
                  <a:latin typeface="Calibri" pitchFamily="34" charset="0"/>
                </a:rPr>
                <a:t>t/</a:t>
              </a:r>
              <a:r>
                <a:rPr lang="en-GB" altLang="en-US" sz="3100" dirty="0" smtClean="0">
                  <a:solidFill>
                    <a:schemeClr val="accent2"/>
                  </a:solidFill>
                  <a:latin typeface="Calibri" pitchFamily="34" charset="0"/>
                </a:rPr>
                <a:t>A</a:t>
              </a:r>
              <a:r>
                <a:rPr lang="en-GB" altLang="en-US" sz="2400" dirty="0" smtClean="0">
                  <a:latin typeface="Calibri" pitchFamily="34" charset="0"/>
                </a:rPr>
                <a:t>bove </a:t>
              </a:r>
              <a:r>
                <a:rPr lang="en-GB" altLang="en-US" sz="3100" b="1" dirty="0" smtClean="0">
                  <a:solidFill>
                    <a:schemeClr val="accent2"/>
                  </a:solidFill>
                  <a:latin typeface="Calibri" pitchFamily="34" charset="0"/>
                </a:rPr>
                <a:t>C</a:t>
              </a:r>
              <a:r>
                <a:rPr lang="en-GB" altLang="en-US" sz="2400" dirty="0" smtClean="0">
                  <a:latin typeface="Calibri" pitchFamily="34" charset="0"/>
                </a:rPr>
                <a:t>lient’s </a:t>
              </a:r>
              <a:r>
                <a:rPr lang="en-GB" altLang="en-US" sz="3100" b="1" dirty="0" smtClean="0">
                  <a:solidFill>
                    <a:schemeClr val="accent2"/>
                  </a:solidFill>
                  <a:latin typeface="Calibri" pitchFamily="34" charset="0"/>
                </a:rPr>
                <a:t>E</a:t>
              </a:r>
              <a:r>
                <a:rPr lang="en-GB" altLang="en-US" sz="2400" dirty="0" smtClean="0">
                  <a:latin typeface="Calibri" pitchFamily="34" charset="0"/>
                </a:rPr>
                <a:t>xpectation</a:t>
              </a:r>
              <a:endParaRPr lang="en-GB" altLang="en-US" sz="2400" dirty="0">
                <a:latin typeface="Calibri" pitchFamily="34" charset="0"/>
              </a:endParaRPr>
            </a:p>
          </p:txBody>
        </p:sp>
        <p:pic>
          <p:nvPicPr>
            <p:cNvPr id="32" name="Picture 9" descr="http://nobacks.com/wp-content/uploads/2014/11/Red-Ribbon-17-350x500.png">
              <a:hlinkClick r:id="rId5"/>
            </p:cNvPr>
            <p:cNvPicPr>
              <a:picLocks noChangeAspect="1" noChangeArrowheads="1"/>
            </p:cNvPicPr>
            <p:nvPr/>
          </p:nvPicPr>
          <p:blipFill>
            <a:blip r:embed="rId6" cstate="print"/>
            <a:stretch>
              <a:fillRect/>
            </a:stretch>
          </p:blipFill>
          <p:spPr bwMode="auto">
            <a:xfrm>
              <a:off x="951636" y="1730928"/>
              <a:ext cx="820438" cy="1438498"/>
            </a:xfrm>
            <a:prstGeom prst="rect">
              <a:avLst/>
            </a:prstGeom>
            <a:noFill/>
          </p:spPr>
        </p:pic>
      </p:grpSp>
      <p:grpSp>
        <p:nvGrpSpPr>
          <p:cNvPr id="33" name="Group 60"/>
          <p:cNvGrpSpPr/>
          <p:nvPr/>
        </p:nvGrpSpPr>
        <p:grpSpPr>
          <a:xfrm>
            <a:off x="623210" y="2520309"/>
            <a:ext cx="8751315" cy="639373"/>
            <a:chOff x="3622231" y="1362268"/>
            <a:chExt cx="9223569" cy="589094"/>
          </a:xfrm>
          <a:solidFill>
            <a:schemeClr val="tx1"/>
          </a:solidFill>
        </p:grpSpPr>
        <p:sp>
          <p:nvSpPr>
            <p:cNvPr id="34" name="Rounded Rectangle 12"/>
            <p:cNvSpPr/>
            <p:nvPr/>
          </p:nvSpPr>
          <p:spPr>
            <a:xfrm>
              <a:off x="3622231"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defTabSz="779252" eaLnBrk="0" fontAlgn="base" hangingPunct="0">
                <a:spcBef>
                  <a:spcPct val="0"/>
                </a:spcBef>
                <a:spcAft>
                  <a:spcPct val="0"/>
                </a:spcAft>
              </a:pPr>
              <a:r>
                <a:rPr lang="en-GB" sz="1650" b="1" dirty="0" smtClean="0">
                  <a:solidFill>
                    <a:schemeClr val="bg1"/>
                  </a:solidFill>
                  <a:latin typeface="Calibri" pitchFamily="34" charset="0"/>
                  <a:cs typeface="Arial" charset="0"/>
                </a:rPr>
                <a:t>Capgemini’s Quality &amp; Service Management Policy – To always meet or exceed client expectations</a:t>
              </a:r>
            </a:p>
          </p:txBody>
        </p:sp>
        <p:sp>
          <p:nvSpPr>
            <p:cNvPr id="35"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1800" b="1" dirty="0">
                <a:solidFill>
                  <a:schemeClr val="tx1">
                    <a:lumMod val="85000"/>
                    <a:lumOff val="15000"/>
                  </a:schemeClr>
                </a:solidFill>
                <a:latin typeface="Calibri" pitchFamily="34" charset="0"/>
              </a:endParaRP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3"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strips(upRight)">
                                      <p:cBhvr>
                                        <p:cTn id="12" dur="10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10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42"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noFill/>
          <a:ln w="9525">
            <a:noFill/>
            <a:miter lim="800000"/>
            <a:headEnd/>
            <a:tailEnd/>
          </a:ln>
        </p:spPr>
        <p:txBody>
          <a:bodyPr vert="horz" wrap="square" lIns="297529" tIns="33059" rIns="165294" bIns="33059" numCol="1" anchor="ctr" anchorCtr="0" compatLnSpc="1">
            <a:prstTxWarp prst="textNoShape">
              <a:avLst/>
            </a:prstTxWarp>
            <a:normAutofit/>
          </a:bodyPr>
          <a:lstStyle/>
          <a:p>
            <a:pPr>
              <a:spcAft>
                <a:spcPts val="600"/>
              </a:spcAft>
              <a:defRPr/>
            </a:pPr>
            <a:r>
              <a:rPr lang="en-US" sz="2400" dirty="0" smtClean="0">
                <a:solidFill>
                  <a:schemeClr val="tx1"/>
                </a:solidFill>
              </a:rPr>
              <a:t>QMS Components</a:t>
            </a:r>
            <a:endParaRPr lang="en-US" sz="2400" dirty="0">
              <a:solidFill>
                <a:schemeClr val="tx1"/>
              </a:solidFill>
            </a:endParaRPr>
          </a:p>
        </p:txBody>
      </p:sp>
      <p:grpSp>
        <p:nvGrpSpPr>
          <p:cNvPr id="2" name="Group 17"/>
          <p:cNvGrpSpPr/>
          <p:nvPr/>
        </p:nvGrpSpPr>
        <p:grpSpPr>
          <a:xfrm>
            <a:off x="703066" y="4305300"/>
            <a:ext cx="8656834" cy="1686560"/>
            <a:chOff x="817366" y="4970100"/>
            <a:chExt cx="8031042" cy="1433215"/>
          </a:xfrm>
        </p:grpSpPr>
        <p:sp>
          <p:nvSpPr>
            <p:cNvPr id="7" name="object 27"/>
            <p:cNvSpPr>
              <a:spLocks/>
            </p:cNvSpPr>
            <p:nvPr/>
          </p:nvSpPr>
          <p:spPr bwMode="auto">
            <a:xfrm>
              <a:off x="6684120" y="5452168"/>
              <a:ext cx="0" cy="914400"/>
            </a:xfrm>
            <a:custGeom>
              <a:avLst/>
              <a:gdLst>
                <a:gd name="T0" fmla="*/ 914400 h 914400"/>
                <a:gd name="T1" fmla="*/ 0 h 914400"/>
                <a:gd name="T2" fmla="*/ 0 60000 65536"/>
                <a:gd name="T3" fmla="*/ 0 60000 65536"/>
                <a:gd name="T4" fmla="*/ 0 h 914400"/>
                <a:gd name="T5" fmla="*/ 914400 h 914400"/>
              </a:gdLst>
              <a:ahLst/>
              <a:cxnLst>
                <a:cxn ang="T2">
                  <a:pos x="0" y="T0"/>
                </a:cxn>
                <a:cxn ang="T3">
                  <a:pos x="0" y="T1"/>
                </a:cxn>
              </a:cxnLst>
              <a:rect l="0" t="T4" r="0" b="T5"/>
              <a:pathLst>
                <a:path h="914400">
                  <a:moveTo>
                    <a:pt x="0" y="914400"/>
                  </a:moveTo>
                  <a:lnTo>
                    <a:pt x="0" y="0"/>
                  </a:lnTo>
                </a:path>
              </a:pathLst>
            </a:custGeom>
            <a:noFill/>
            <a:ln w="38100">
              <a:solidFill>
                <a:srgbClr val="CBCC00"/>
              </a:solidFill>
              <a:round/>
              <a:headEnd/>
              <a:tailEnd/>
            </a:ln>
          </p:spPr>
          <p:txBody>
            <a:bodyPr lIns="0" tIns="0" rIns="0" bIns="0"/>
            <a:lstStyle/>
            <a:p>
              <a:endParaRPr lang="en-US"/>
            </a:p>
          </p:txBody>
        </p:sp>
        <p:sp>
          <p:nvSpPr>
            <p:cNvPr id="9" name="object 13"/>
            <p:cNvSpPr txBox="1"/>
            <p:nvPr/>
          </p:nvSpPr>
          <p:spPr>
            <a:xfrm>
              <a:off x="1026583" y="5020955"/>
              <a:ext cx="896937" cy="254000"/>
            </a:xfrm>
            <a:prstGeom prst="rect">
              <a:avLst/>
            </a:prstGeom>
          </p:spPr>
          <p:txBody>
            <a:bodyPr lIns="0" tIns="0" rIns="0" bIns="0"/>
            <a:lstStyle/>
            <a:p>
              <a:pPr marL="12700">
                <a:lnSpc>
                  <a:spcPts val="1939"/>
                </a:lnSpc>
                <a:spcBef>
                  <a:spcPts val="97"/>
                </a:spcBef>
                <a:defRPr/>
              </a:pPr>
              <a:r>
                <a:rPr sz="1400" b="1" spc="4" dirty="0">
                  <a:latin typeface="Arial"/>
                  <a:cs typeface="Arial"/>
                </a:rPr>
                <a:t>I</a:t>
              </a:r>
              <a:r>
                <a:rPr sz="1400" b="1" spc="-4" dirty="0">
                  <a:latin typeface="Arial"/>
                  <a:cs typeface="Arial"/>
                </a:rPr>
                <a:t>N</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0" name="object 12"/>
            <p:cNvSpPr txBox="1">
              <a:spLocks noChangeArrowheads="1"/>
            </p:cNvSpPr>
            <p:nvPr/>
          </p:nvSpPr>
          <p:spPr bwMode="auto">
            <a:xfrm>
              <a:off x="6737033" y="5116205"/>
              <a:ext cx="2111375" cy="528638"/>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latin typeface="Arial" charset="0"/>
                </a:rPr>
                <a:t>CUSTOMER</a:t>
              </a:r>
              <a:endParaRPr lang="en-US" sz="1600" dirty="0">
                <a:latin typeface="Arial" charset="0"/>
              </a:endParaRPr>
            </a:p>
            <a:p>
              <a:pPr marL="12700">
                <a:lnSpc>
                  <a:spcPct val="96000"/>
                </a:lnSpc>
              </a:pPr>
              <a:r>
                <a:rPr lang="en-US" sz="1600" dirty="0">
                  <a:latin typeface="Arial" charset="0"/>
                </a:rPr>
                <a:t>(Internal or external)</a:t>
              </a:r>
            </a:p>
          </p:txBody>
        </p:sp>
        <p:sp>
          <p:nvSpPr>
            <p:cNvPr id="11" name="object 11"/>
            <p:cNvSpPr txBox="1">
              <a:spLocks noChangeArrowheads="1"/>
            </p:cNvSpPr>
            <p:nvPr/>
          </p:nvSpPr>
          <p:spPr bwMode="auto">
            <a:xfrm>
              <a:off x="6986270" y="5828993"/>
              <a:ext cx="1820863" cy="528637"/>
            </a:xfrm>
            <a:prstGeom prst="rect">
              <a:avLst/>
            </a:prstGeom>
            <a:noFill/>
            <a:ln w="9525">
              <a:noFill/>
              <a:miter lim="800000"/>
              <a:headEnd/>
              <a:tailEnd/>
            </a:ln>
          </p:spPr>
          <p:txBody>
            <a:bodyPr lIns="0" tIns="0" rIns="0" bIns="0"/>
            <a:lstStyle/>
            <a:p>
              <a:pPr marL="12700">
                <a:lnSpc>
                  <a:spcPts val="1938"/>
                </a:lnSpc>
                <a:spcBef>
                  <a:spcPts val="100"/>
                </a:spcBef>
              </a:pPr>
              <a:r>
                <a:rPr lang="en-US" sz="1600" b="1" dirty="0">
                  <a:solidFill>
                    <a:srgbClr val="190033"/>
                  </a:solidFill>
                  <a:latin typeface="Arial" charset="0"/>
                </a:rPr>
                <a:t>Other Interested</a:t>
              </a:r>
              <a:endParaRPr lang="en-US" sz="1600" dirty="0">
                <a:latin typeface="Arial" charset="0"/>
              </a:endParaRPr>
            </a:p>
            <a:p>
              <a:pPr marL="12700">
                <a:lnSpc>
                  <a:spcPct val="96000"/>
                </a:lnSpc>
              </a:pPr>
              <a:r>
                <a:rPr lang="en-US" sz="1600" b="1" dirty="0">
                  <a:solidFill>
                    <a:srgbClr val="190033"/>
                  </a:solidFill>
                  <a:latin typeface="Arial" charset="0"/>
                </a:rPr>
                <a:t>Parties</a:t>
              </a:r>
              <a:endParaRPr lang="en-US" sz="1600" dirty="0">
                <a:latin typeface="Arial" charset="0"/>
              </a:endParaRPr>
            </a:p>
          </p:txBody>
        </p:sp>
        <p:sp>
          <p:nvSpPr>
            <p:cNvPr id="13" name="object 3"/>
            <p:cNvSpPr txBox="1"/>
            <p:nvPr/>
          </p:nvSpPr>
          <p:spPr>
            <a:xfrm>
              <a:off x="5007983" y="4970100"/>
              <a:ext cx="1536700" cy="457200"/>
            </a:xfrm>
            <a:prstGeom prst="rect">
              <a:avLst/>
            </a:prstGeom>
          </p:spPr>
          <p:txBody>
            <a:bodyPr lIns="0" tIns="0" rIns="0" bIns="0"/>
            <a:lstStyle/>
            <a:p>
              <a:pPr>
                <a:lnSpc>
                  <a:spcPts val="750"/>
                </a:lnSpc>
                <a:spcBef>
                  <a:spcPts val="33"/>
                </a:spcBef>
                <a:defRPr/>
              </a:pPr>
              <a:endParaRPr sz="1400" dirty="0">
                <a:cs typeface="+mn-cs"/>
              </a:endParaRPr>
            </a:p>
            <a:p>
              <a:pPr marL="243839">
                <a:lnSpc>
                  <a:spcPct val="95825"/>
                </a:lnSpc>
                <a:defRPr/>
              </a:pPr>
              <a:r>
                <a:rPr sz="1400" b="1" spc="4" dirty="0">
                  <a:latin typeface="Arial"/>
                  <a:cs typeface="Arial"/>
                </a:rPr>
                <a:t>O</a:t>
              </a:r>
              <a:r>
                <a:rPr sz="1400" b="1" spc="-4" dirty="0">
                  <a:latin typeface="Arial"/>
                  <a:cs typeface="Arial"/>
                </a:rPr>
                <a:t>U</a:t>
              </a:r>
              <a:r>
                <a:rPr sz="1400" b="1" spc="4" dirty="0">
                  <a:latin typeface="Arial"/>
                  <a:cs typeface="Arial"/>
                </a:rPr>
                <a:t>T</a:t>
              </a:r>
              <a:r>
                <a:rPr sz="1400" b="1" dirty="0">
                  <a:latin typeface="Arial"/>
                  <a:cs typeface="Arial"/>
                </a:rPr>
                <a:t>P</a:t>
              </a:r>
              <a:r>
                <a:rPr sz="1400" b="1" spc="-4" dirty="0">
                  <a:latin typeface="Arial"/>
                  <a:cs typeface="Arial"/>
                </a:rPr>
                <a:t>U</a:t>
              </a:r>
              <a:r>
                <a:rPr sz="1400" b="1" spc="4" dirty="0">
                  <a:latin typeface="Arial"/>
                  <a:cs typeface="Arial"/>
                </a:rPr>
                <a:t>T</a:t>
              </a:r>
              <a:r>
                <a:rPr sz="1400" b="1" dirty="0">
                  <a:latin typeface="Arial"/>
                  <a:cs typeface="Arial"/>
                </a:rPr>
                <a:t>S</a:t>
              </a:r>
              <a:endParaRPr sz="1400" dirty="0">
                <a:latin typeface="Arial"/>
                <a:cs typeface="Arial"/>
              </a:endParaRPr>
            </a:p>
          </p:txBody>
        </p:sp>
        <p:sp>
          <p:nvSpPr>
            <p:cNvPr id="14" name="object 2"/>
            <p:cNvSpPr txBox="1">
              <a:spLocks noChangeArrowheads="1"/>
            </p:cNvSpPr>
            <p:nvPr/>
          </p:nvSpPr>
          <p:spPr bwMode="auto">
            <a:xfrm>
              <a:off x="5112158" y="5538805"/>
              <a:ext cx="1557337" cy="457200"/>
            </a:xfrm>
            <a:prstGeom prst="rect">
              <a:avLst/>
            </a:prstGeom>
            <a:noFill/>
            <a:ln w="9525">
              <a:noFill/>
              <a:miter lim="800000"/>
              <a:headEnd/>
              <a:tailEnd/>
            </a:ln>
          </p:spPr>
          <p:txBody>
            <a:bodyPr lIns="0" tIns="0" rIns="0" bIns="0"/>
            <a:lstStyle/>
            <a:p>
              <a:pPr>
                <a:lnSpc>
                  <a:spcPts val="1300"/>
                </a:lnSpc>
                <a:spcBef>
                  <a:spcPts val="25"/>
                </a:spcBef>
              </a:pPr>
              <a:endParaRPr lang="en-US" sz="1600" dirty="0"/>
            </a:p>
            <a:p>
              <a:pPr>
                <a:lnSpc>
                  <a:spcPct val="96000"/>
                </a:lnSpc>
              </a:pPr>
              <a:r>
                <a:rPr lang="en-US" sz="1600" b="1" dirty="0">
                  <a:latin typeface="Arial" charset="0"/>
                </a:rPr>
                <a:t>“PRODUCT”</a:t>
              </a:r>
              <a:endParaRPr lang="en-US" sz="1600" dirty="0">
                <a:latin typeface="Arial" charset="0"/>
              </a:endParaRPr>
            </a:p>
          </p:txBody>
        </p:sp>
        <p:sp>
          <p:nvSpPr>
            <p:cNvPr id="15" name="Rectangle 14"/>
            <p:cNvSpPr/>
            <p:nvPr/>
          </p:nvSpPr>
          <p:spPr>
            <a:xfrm>
              <a:off x="2379948" y="5072226"/>
              <a:ext cx="2534856" cy="68290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Interrelated activities</a:t>
              </a:r>
            </a:p>
          </p:txBody>
        </p:sp>
        <p:sp>
          <p:nvSpPr>
            <p:cNvPr id="16" name="Right Arrow 15"/>
            <p:cNvSpPr/>
            <p:nvPr/>
          </p:nvSpPr>
          <p:spPr>
            <a:xfrm>
              <a:off x="817366" y="5245844"/>
              <a:ext cx="1377387"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ight Arrow 16"/>
            <p:cNvSpPr/>
            <p:nvPr/>
          </p:nvSpPr>
          <p:spPr>
            <a:xfrm>
              <a:off x="5018976" y="5280571"/>
              <a:ext cx="1446835" cy="312516"/>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Cloud Callout 18"/>
            <p:cNvSpPr/>
            <p:nvPr/>
          </p:nvSpPr>
          <p:spPr>
            <a:xfrm>
              <a:off x="944687" y="5917178"/>
              <a:ext cx="1169043" cy="486137"/>
            </a:xfrm>
            <a:prstGeom prst="cloudCallout">
              <a:avLst>
                <a:gd name="adj1" fmla="val 92038"/>
                <a:gd name="adj2" fmla="val -163690"/>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Process</a:t>
              </a:r>
            </a:p>
          </p:txBody>
        </p:sp>
      </p:grpSp>
      <p:sp>
        <p:nvSpPr>
          <p:cNvPr id="22" name="Rounded Rectangle 21"/>
          <p:cNvSpPr/>
          <p:nvPr/>
        </p:nvSpPr>
        <p:spPr>
          <a:xfrm>
            <a:off x="441960" y="1414780"/>
            <a:ext cx="9204960" cy="16967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Quality Manual? </a:t>
            </a:r>
          </a:p>
          <a:p>
            <a:pPr lvl="1"/>
            <a:r>
              <a:rPr lang="en-US" sz="1400" dirty="0" smtClean="0">
                <a:solidFill>
                  <a:schemeClr val="tx2">
                    <a:lumMod val="50000"/>
                  </a:schemeClr>
                </a:solidFill>
              </a:rPr>
              <a:t>Quality manual defines scope and quality management structure. It also include the organization's quality policy and objectives and a highly detailed explanation of the quality control system being used.</a:t>
            </a:r>
          </a:p>
          <a:p>
            <a:pPr lvl="1"/>
            <a:endParaRPr lang="en-US" sz="1400" dirty="0" smtClean="0">
              <a:solidFill>
                <a:schemeClr val="tx2">
                  <a:lumMod val="50000"/>
                </a:schemeClr>
              </a:solidFill>
            </a:endParaRPr>
          </a:p>
          <a:p>
            <a:pPr lvl="1"/>
            <a:r>
              <a:rPr lang="en-US" sz="1400" b="1" dirty="0" smtClean="0">
                <a:solidFill>
                  <a:schemeClr val="tx2">
                    <a:lumMod val="50000"/>
                  </a:schemeClr>
                </a:solidFill>
              </a:rPr>
              <a:t>Location:</a:t>
            </a:r>
            <a:r>
              <a:rPr lang="en-US" sz="1400" dirty="0" smtClean="0">
                <a:solidFill>
                  <a:schemeClr val="tx2">
                    <a:lumMod val="50000"/>
                  </a:schemeClr>
                </a:solidFill>
              </a:rPr>
              <a:t> Capgemini – India Quality Manual is at India QMS &gt; Processes &gt; Apex Documents &gt; APEX LEVEL DOCUMENTS &gt; </a:t>
            </a:r>
            <a:r>
              <a:rPr lang="en-US" sz="1400" dirty="0" err="1" smtClean="0">
                <a:solidFill>
                  <a:schemeClr val="tx2">
                    <a:lumMod val="50000"/>
                  </a:schemeClr>
                </a:solidFill>
              </a:rPr>
              <a:t>CG_India</a:t>
            </a:r>
            <a:r>
              <a:rPr lang="en-US" sz="1400" dirty="0" smtClean="0">
                <a:solidFill>
                  <a:schemeClr val="tx2">
                    <a:lumMod val="50000"/>
                  </a:schemeClr>
                </a:solidFill>
              </a:rPr>
              <a:t> Quality Manual.docx</a:t>
            </a:r>
          </a:p>
        </p:txBody>
      </p:sp>
      <p:sp>
        <p:nvSpPr>
          <p:cNvPr id="23" name="Rounded Rectangle 22"/>
          <p:cNvSpPr/>
          <p:nvPr/>
        </p:nvSpPr>
        <p:spPr>
          <a:xfrm>
            <a:off x="482600" y="3472180"/>
            <a:ext cx="9204960"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400" b="1" dirty="0" smtClean="0">
                <a:solidFill>
                  <a:schemeClr val="tx2">
                    <a:lumMod val="50000"/>
                  </a:schemeClr>
                </a:solidFill>
              </a:rPr>
              <a:t>What is a Process?</a:t>
            </a:r>
          </a:p>
          <a:p>
            <a:pPr lvl="1"/>
            <a:r>
              <a:rPr lang="en-US" sz="1400" dirty="0" smtClean="0">
                <a:solidFill>
                  <a:schemeClr val="tx2">
                    <a:lumMod val="50000"/>
                  </a:schemeClr>
                </a:solidFill>
              </a:rPr>
              <a:t>A process is a set of interrelated activities that interact to achieve a result.</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linds(horizontal)">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linds(horizontal)">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Components Continued…</a:t>
            </a:r>
          </a:p>
        </p:txBody>
      </p:sp>
      <p:sp>
        <p:nvSpPr>
          <p:cNvPr id="5" name="Rounded Rectangle 4"/>
          <p:cNvSpPr/>
          <p:nvPr/>
        </p:nvSpPr>
        <p:spPr>
          <a:xfrm>
            <a:off x="4089400" y="4051300"/>
            <a:ext cx="5448300" cy="1930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are Tools?</a:t>
            </a:r>
          </a:p>
          <a:p>
            <a:pPr lvl="1"/>
            <a:r>
              <a:rPr lang="en-US" sz="1300" dirty="0" smtClean="0">
                <a:solidFill>
                  <a:schemeClr val="tx2">
                    <a:lumMod val="50000"/>
                  </a:schemeClr>
                </a:solidFill>
              </a:rPr>
              <a:t>Tools are a set of basic components and accessories that help software development process more efficient.</a:t>
            </a:r>
          </a:p>
          <a:p>
            <a:pPr lvl="1"/>
            <a:r>
              <a:rPr lang="en-US" sz="1300" b="1" dirty="0" smtClean="0">
                <a:solidFill>
                  <a:schemeClr val="tx2">
                    <a:lumMod val="50000"/>
                  </a:schemeClr>
                </a:solidFill>
              </a:rPr>
              <a:t>Example: </a:t>
            </a:r>
            <a:r>
              <a:rPr lang="en-US" sz="1300" dirty="0" smtClean="0">
                <a:solidFill>
                  <a:schemeClr val="tx2">
                    <a:lumMod val="50000"/>
                  </a:schemeClr>
                </a:solidFill>
              </a:rPr>
              <a:t>Project Management Tools, Testing Tools, Defect Tracking Tools etc..13</a:t>
            </a:r>
            <a:endParaRPr lang="en-US" sz="1300" b="1" dirty="0" smtClean="0">
              <a:solidFill>
                <a:schemeClr val="tx2">
                  <a:lumMod val="50000"/>
                </a:schemeClr>
              </a:solidFill>
            </a:endParaRPr>
          </a:p>
        </p:txBody>
      </p:sp>
      <p:sp>
        <p:nvSpPr>
          <p:cNvPr id="7" name="Rounded Rectangle 6"/>
          <p:cNvSpPr/>
          <p:nvPr/>
        </p:nvSpPr>
        <p:spPr>
          <a:xfrm>
            <a:off x="4053840" y="1651000"/>
            <a:ext cx="5407660" cy="19024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Procedure?</a:t>
            </a:r>
          </a:p>
          <a:p>
            <a:pPr lvl="1"/>
            <a:r>
              <a:rPr lang="en-US" sz="1300" dirty="0" smtClean="0">
                <a:solidFill>
                  <a:schemeClr val="tx2">
                    <a:lumMod val="50000"/>
                  </a:schemeClr>
                </a:solidFill>
              </a:rPr>
              <a:t>A fixed, step-by-step sequence of activities or course of action  that must be followed in the same order to correctly perform a task.</a:t>
            </a:r>
          </a:p>
          <a:p>
            <a:pPr lvl="1"/>
            <a:r>
              <a:rPr lang="en-US" sz="1300" b="1" dirty="0" smtClean="0">
                <a:solidFill>
                  <a:schemeClr val="tx2">
                    <a:lumMod val="50000"/>
                  </a:schemeClr>
                </a:solidFill>
              </a:rPr>
              <a:t>Example: </a:t>
            </a:r>
            <a:r>
              <a:rPr lang="en-US" sz="1300" dirty="0" smtClean="0">
                <a:solidFill>
                  <a:schemeClr val="tx2">
                    <a:lumMod val="50000"/>
                  </a:schemeClr>
                </a:solidFill>
              </a:rPr>
              <a:t>Procedure for conducting a training program.</a:t>
            </a:r>
            <a:endParaRPr lang="en-US" sz="1300" b="1" dirty="0" smtClean="0">
              <a:solidFill>
                <a:schemeClr val="tx2">
                  <a:lumMod val="50000"/>
                </a:schemeClr>
              </a:solidFill>
            </a:endParaRPr>
          </a:p>
        </p:txBody>
      </p:sp>
      <p:pic>
        <p:nvPicPr>
          <p:cNvPr id="14" name="Picture 13" descr="Procedure.jpg"/>
          <p:cNvPicPr>
            <a:picLocks noChangeAspect="1"/>
          </p:cNvPicPr>
          <p:nvPr/>
        </p:nvPicPr>
        <p:blipFill>
          <a:blip r:embed="rId3" cstate="print"/>
          <a:stretch>
            <a:fillRect/>
          </a:stretch>
        </p:blipFill>
        <p:spPr>
          <a:xfrm>
            <a:off x="308610" y="1445259"/>
            <a:ext cx="2929890" cy="2194589"/>
          </a:xfrm>
          <a:prstGeom prst="rect">
            <a:avLst/>
          </a:prstGeom>
        </p:spPr>
      </p:pic>
      <p:pic>
        <p:nvPicPr>
          <p:cNvPr id="15" name="Picture 14" descr="Tools.jpg"/>
          <p:cNvPicPr>
            <a:picLocks noChangeAspect="1"/>
          </p:cNvPicPr>
          <p:nvPr/>
        </p:nvPicPr>
        <p:blipFill>
          <a:blip r:embed="rId4" cstate="print"/>
          <a:stretch>
            <a:fillRect/>
          </a:stretch>
        </p:blipFill>
        <p:spPr>
          <a:xfrm>
            <a:off x="666750" y="3841750"/>
            <a:ext cx="2317750" cy="231775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linds(horizontal)">
                                      <p:cBhvr>
                                        <p:cTn id="15" dur="500"/>
                                        <p:tgtEl>
                                          <p:spTgt spid="15"/>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linds(horizontal)">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Components Continued…</a:t>
            </a:r>
          </a:p>
        </p:txBody>
      </p:sp>
      <p:sp>
        <p:nvSpPr>
          <p:cNvPr id="9" name="Rounded Rectangle 8"/>
          <p:cNvSpPr/>
          <p:nvPr/>
        </p:nvSpPr>
        <p:spPr>
          <a:xfrm>
            <a:off x="4610100" y="1168400"/>
            <a:ext cx="5120640" cy="300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are Roles &amp; Responsibilities?</a:t>
            </a:r>
          </a:p>
          <a:p>
            <a:pPr lvl="1"/>
            <a:r>
              <a:rPr lang="en-US" sz="1300" b="1" dirty="0" smtClean="0">
                <a:solidFill>
                  <a:schemeClr val="tx2">
                    <a:lumMod val="50000"/>
                  </a:schemeClr>
                </a:solidFill>
              </a:rPr>
              <a:t>Roles - </a:t>
            </a:r>
            <a:r>
              <a:rPr lang="en-US" sz="1300" dirty="0" smtClean="0">
                <a:solidFill>
                  <a:schemeClr val="tx2">
                    <a:lumMod val="50000"/>
                  </a:schemeClr>
                </a:solidFill>
              </a:rPr>
              <a:t>Roles are the positions team members assume or the parts that they play in a particular operation or process.</a:t>
            </a:r>
          </a:p>
          <a:p>
            <a:pPr lvl="1"/>
            <a:r>
              <a:rPr lang="en-US" sz="1300" b="1" dirty="0" smtClean="0">
                <a:solidFill>
                  <a:schemeClr val="tx2">
                    <a:lumMod val="50000"/>
                  </a:schemeClr>
                </a:solidFill>
              </a:rPr>
              <a:t>Responsibilities - </a:t>
            </a:r>
            <a:r>
              <a:rPr lang="en-US" sz="1300" dirty="0" smtClean="0">
                <a:solidFill>
                  <a:schemeClr val="tx2">
                    <a:lumMod val="50000"/>
                  </a:schemeClr>
                </a:solidFill>
              </a:rPr>
              <a:t>Responsibilities are the specific tasks or duties that members are expected to complete as a function of their roles.</a:t>
            </a:r>
          </a:p>
          <a:p>
            <a:pPr lvl="1"/>
            <a:r>
              <a:rPr lang="en-US" sz="1300" dirty="0" smtClean="0">
                <a:solidFill>
                  <a:schemeClr val="tx2">
                    <a:lumMod val="50000"/>
                  </a:schemeClr>
                </a:solidFill>
              </a:rPr>
              <a:t>Capgemini India Roles &amp; Responsibilities can be found at QMS &gt; Processes &gt; Apex Documents &gt; APEX LEVEL DOCUMENTS &gt; </a:t>
            </a:r>
            <a:r>
              <a:rPr lang="en-US" sz="1300" dirty="0" err="1" smtClean="0">
                <a:solidFill>
                  <a:schemeClr val="tx2">
                    <a:lumMod val="50000"/>
                  </a:schemeClr>
                </a:solidFill>
              </a:rPr>
              <a:t>CG_Org</a:t>
            </a:r>
            <a:r>
              <a:rPr lang="en-US" sz="1300" dirty="0" smtClean="0">
                <a:solidFill>
                  <a:schemeClr val="tx2">
                    <a:lumMod val="50000"/>
                  </a:schemeClr>
                </a:solidFill>
              </a:rPr>
              <a:t> Roles_Responsibilities.doc</a:t>
            </a:r>
          </a:p>
          <a:p>
            <a:pPr lvl="1"/>
            <a:r>
              <a:rPr lang="en-US" sz="1300" b="1" dirty="0" smtClean="0">
                <a:solidFill>
                  <a:schemeClr val="tx2">
                    <a:lumMod val="50000"/>
                  </a:schemeClr>
                </a:solidFill>
              </a:rPr>
              <a:t>Example: </a:t>
            </a:r>
            <a:r>
              <a:rPr lang="en-US" sz="1300" dirty="0" smtClean="0">
                <a:solidFill>
                  <a:schemeClr val="tx2">
                    <a:lumMod val="50000"/>
                  </a:schemeClr>
                </a:solidFill>
              </a:rPr>
              <a:t>Project Manager – Project Management Activities for the project.</a:t>
            </a:r>
          </a:p>
        </p:txBody>
      </p:sp>
      <p:sp>
        <p:nvSpPr>
          <p:cNvPr id="10" name="Rounded Rectangle 9"/>
          <p:cNvSpPr/>
          <p:nvPr/>
        </p:nvSpPr>
        <p:spPr>
          <a:xfrm>
            <a:off x="4815840" y="4470400"/>
            <a:ext cx="4747260" cy="15113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Guideline?</a:t>
            </a:r>
          </a:p>
          <a:p>
            <a:pPr lvl="1"/>
            <a:r>
              <a:rPr lang="en-US" sz="1300" dirty="0" smtClean="0">
                <a:solidFill>
                  <a:schemeClr val="tx2">
                    <a:lumMod val="50000"/>
                  </a:schemeClr>
                </a:solidFill>
              </a:rPr>
              <a:t>Guidelines typically provide additional optional information on specific subjects.</a:t>
            </a:r>
          </a:p>
        </p:txBody>
      </p:sp>
      <p:pic>
        <p:nvPicPr>
          <p:cNvPr id="13" name="Picture 12" descr="R&amp;R.jpg"/>
          <p:cNvPicPr>
            <a:picLocks noChangeAspect="1"/>
          </p:cNvPicPr>
          <p:nvPr/>
        </p:nvPicPr>
        <p:blipFill>
          <a:blip r:embed="rId3" cstate="print"/>
          <a:stretch>
            <a:fillRect/>
          </a:stretch>
        </p:blipFill>
        <p:spPr>
          <a:xfrm>
            <a:off x="736600" y="1219200"/>
            <a:ext cx="3200400" cy="2933700"/>
          </a:xfrm>
          <a:prstGeom prst="rect">
            <a:avLst/>
          </a:prstGeom>
        </p:spPr>
      </p:pic>
      <p:pic>
        <p:nvPicPr>
          <p:cNvPr id="14" name="Picture 13" descr="Guideline.jpg"/>
          <p:cNvPicPr>
            <a:picLocks noChangeAspect="1"/>
          </p:cNvPicPr>
          <p:nvPr/>
        </p:nvPicPr>
        <p:blipFill>
          <a:blip r:embed="rId4" cstate="print"/>
          <a:stretch>
            <a:fillRect/>
          </a:stretch>
        </p:blipFill>
        <p:spPr>
          <a:xfrm>
            <a:off x="783590" y="4237989"/>
            <a:ext cx="3394710" cy="2057415"/>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linds(horizontal)">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Components Continued…</a:t>
            </a:r>
          </a:p>
        </p:txBody>
      </p:sp>
      <p:sp>
        <p:nvSpPr>
          <p:cNvPr id="11" name="Rounded Rectangle 10"/>
          <p:cNvSpPr/>
          <p:nvPr/>
        </p:nvSpPr>
        <p:spPr>
          <a:xfrm>
            <a:off x="6446520" y="1424940"/>
            <a:ext cx="3352800" cy="189738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Template?</a:t>
            </a:r>
          </a:p>
          <a:p>
            <a:pPr lvl="1"/>
            <a:r>
              <a:rPr lang="en-US" sz="1300" dirty="0" smtClean="0"/>
              <a:t>It supports work products by providing a pre-defined structure for creating the work product.</a:t>
            </a:r>
          </a:p>
          <a:p>
            <a:pPr lvl="1"/>
            <a:r>
              <a:rPr lang="en-US" sz="1300" b="1" dirty="0" smtClean="0">
                <a:solidFill>
                  <a:schemeClr val="tx2">
                    <a:lumMod val="50000"/>
                  </a:schemeClr>
                </a:solidFill>
              </a:rPr>
              <a:t>Example</a:t>
            </a:r>
            <a:r>
              <a:rPr lang="en-US" sz="1300" dirty="0" smtClean="0">
                <a:solidFill>
                  <a:schemeClr val="tx2">
                    <a:lumMod val="50000"/>
                  </a:schemeClr>
                </a:solidFill>
              </a:rPr>
              <a:t>: A Test Case Template will help to create a Test Case</a:t>
            </a:r>
          </a:p>
        </p:txBody>
      </p:sp>
      <p:sp>
        <p:nvSpPr>
          <p:cNvPr id="12" name="Rounded Rectangle 11"/>
          <p:cNvSpPr/>
          <p:nvPr/>
        </p:nvSpPr>
        <p:spPr>
          <a:xfrm>
            <a:off x="5791200" y="4330700"/>
            <a:ext cx="3987800" cy="17399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a:buFont typeface="Wingdings" pitchFamily="2" charset="2"/>
              <a:buChar char="Ø"/>
            </a:pPr>
            <a:r>
              <a:rPr lang="en-US" sz="1300" b="1" dirty="0" smtClean="0">
                <a:solidFill>
                  <a:schemeClr val="tx2">
                    <a:lumMod val="50000"/>
                  </a:schemeClr>
                </a:solidFill>
              </a:rPr>
              <a:t>What is a Checklist? </a:t>
            </a:r>
          </a:p>
          <a:p>
            <a:pPr lvl="1"/>
            <a:r>
              <a:rPr lang="en-US" sz="1300" dirty="0" smtClean="0">
                <a:solidFill>
                  <a:schemeClr val="tx2">
                    <a:lumMod val="50000"/>
                  </a:schemeClr>
                </a:solidFill>
              </a:rPr>
              <a:t>Checklists identify a series of items those need to be completed or verified. Checklists are often used in reviews such as work product inspections.</a:t>
            </a:r>
          </a:p>
          <a:p>
            <a:pPr lvl="1"/>
            <a:r>
              <a:rPr lang="en-US" sz="1300" b="1" dirty="0" smtClean="0">
                <a:solidFill>
                  <a:schemeClr val="tx2">
                    <a:lumMod val="50000"/>
                  </a:schemeClr>
                </a:solidFill>
              </a:rPr>
              <a:t>Example: </a:t>
            </a:r>
            <a:r>
              <a:rPr lang="en-US" sz="1300" dirty="0" smtClean="0">
                <a:solidFill>
                  <a:schemeClr val="tx2">
                    <a:lumMod val="50000"/>
                  </a:schemeClr>
                </a:solidFill>
              </a:rPr>
              <a:t>Code Review Checklist helps in performing a code review.</a:t>
            </a:r>
            <a:endParaRPr lang="en-US" sz="1300" b="1" dirty="0" smtClean="0">
              <a:solidFill>
                <a:schemeClr val="tx2">
                  <a:lumMod val="50000"/>
                </a:schemeClr>
              </a:solidFill>
            </a:endParaRPr>
          </a:p>
        </p:txBody>
      </p:sp>
      <p:pic>
        <p:nvPicPr>
          <p:cNvPr id="14" name="Picture 13" descr="Checklist.jpg"/>
          <p:cNvPicPr>
            <a:picLocks noChangeAspect="1"/>
          </p:cNvPicPr>
          <p:nvPr/>
        </p:nvPicPr>
        <p:blipFill>
          <a:blip r:embed="rId3" cstate="print"/>
          <a:stretch>
            <a:fillRect/>
          </a:stretch>
        </p:blipFill>
        <p:spPr>
          <a:xfrm>
            <a:off x="1320800" y="3991610"/>
            <a:ext cx="3721100" cy="2257764"/>
          </a:xfrm>
          <a:prstGeom prst="rect">
            <a:avLst/>
          </a:prstGeom>
        </p:spPr>
      </p:pic>
      <p:pic>
        <p:nvPicPr>
          <p:cNvPr id="280577" name="Picture 1"/>
          <p:cNvPicPr>
            <a:picLocks noChangeAspect="1" noChangeArrowheads="1"/>
          </p:cNvPicPr>
          <p:nvPr/>
        </p:nvPicPr>
        <p:blipFill>
          <a:blip r:embed="rId4" cstate="print"/>
          <a:srcRect/>
          <a:stretch>
            <a:fillRect/>
          </a:stretch>
        </p:blipFill>
        <p:spPr bwMode="auto">
          <a:xfrm>
            <a:off x="965126" y="1680040"/>
            <a:ext cx="3852536" cy="1900070"/>
          </a:xfrm>
          <a:prstGeom prst="rect">
            <a:avLst/>
          </a:prstGeom>
          <a:noFill/>
          <a:ln w="9525">
            <a:noFill/>
            <a:miter lim="800000"/>
            <a:headEnd/>
            <a:tailEnd/>
          </a:ln>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0577"/>
                                        </p:tgtEl>
                                        <p:attrNameLst>
                                          <p:attrName>style.visibility</p:attrName>
                                        </p:attrNameLst>
                                      </p:cBhvr>
                                      <p:to>
                                        <p:strVal val="visible"/>
                                      </p:to>
                                    </p:set>
                                    <p:animEffect transition="in" filter="blinds(horizontal)">
                                      <p:cBhvr>
                                        <p:cTn id="7" dur="500"/>
                                        <p:tgtEl>
                                          <p:spTgt spid="28057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blinds(horizontal)">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2004060" y="2743518"/>
            <a:ext cx="5387340" cy="778098"/>
          </a:xfrm>
        </p:spPr>
        <p:txBody>
          <a:bodyPr>
            <a:normAutofit/>
          </a:bodyPr>
          <a:lstStyle/>
          <a:p>
            <a:pPr marL="342900" indent="-342900" algn="ctr"/>
            <a:r>
              <a:rPr lang="en-US" sz="2400" dirty="0" smtClean="0"/>
              <a:t>QMS Portal Walkthrough </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Portal &amp; Its Navigation</a:t>
            </a:r>
          </a:p>
        </p:txBody>
      </p:sp>
      <p:grpSp>
        <p:nvGrpSpPr>
          <p:cNvPr id="45" name="Group 44"/>
          <p:cNvGrpSpPr/>
          <p:nvPr/>
        </p:nvGrpSpPr>
        <p:grpSpPr>
          <a:xfrm>
            <a:off x="316992" y="1420403"/>
            <a:ext cx="9272016" cy="4813267"/>
            <a:chOff x="316992" y="932723"/>
            <a:chExt cx="9272016" cy="4813267"/>
          </a:xfrm>
        </p:grpSpPr>
        <p:grpSp>
          <p:nvGrpSpPr>
            <p:cNvPr id="46" name="Group 48"/>
            <p:cNvGrpSpPr/>
            <p:nvPr/>
          </p:nvGrpSpPr>
          <p:grpSpPr>
            <a:xfrm>
              <a:off x="316992" y="932723"/>
              <a:ext cx="9272016" cy="4813267"/>
              <a:chOff x="316992" y="932723"/>
              <a:chExt cx="9272016" cy="4813267"/>
            </a:xfrm>
          </p:grpSpPr>
          <p:sp>
            <p:nvSpPr>
              <p:cNvPr id="51" name="Rounded Rectangle 50"/>
              <p:cNvSpPr/>
              <p:nvPr/>
            </p:nvSpPr>
            <p:spPr>
              <a:xfrm>
                <a:off x="316992" y="1005840"/>
                <a:ext cx="9272016" cy="4740150"/>
              </a:xfrm>
              <a:prstGeom prst="roundRect">
                <a:avLst>
                  <a:gd name="adj" fmla="val 4037"/>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b="1" dirty="0">
                  <a:latin typeface="Calibri"/>
                  <a:sym typeface="Calibri"/>
                </a:endParaRPr>
              </a:p>
            </p:txBody>
          </p:sp>
          <p:pic>
            <p:nvPicPr>
              <p:cNvPr id="52" name="Picture 2"/>
              <p:cNvPicPr>
                <a:picLocks noChangeAspect="1" noChangeArrowheads="1"/>
              </p:cNvPicPr>
              <p:nvPr/>
            </p:nvPicPr>
            <p:blipFill>
              <a:blip r:embed="rId3" cstate="print"/>
              <a:srcRect l="7991" t="5171" r="8177" b="10550"/>
              <a:stretch>
                <a:fillRect/>
              </a:stretch>
            </p:blipFill>
            <p:spPr bwMode="auto">
              <a:xfrm>
                <a:off x="1676635" y="932723"/>
                <a:ext cx="6428157" cy="4365583"/>
              </a:xfrm>
              <a:prstGeom prst="rect">
                <a:avLst/>
              </a:prstGeom>
              <a:noFill/>
              <a:ln w="9525">
                <a:noFill/>
                <a:miter lim="800000"/>
                <a:headEnd/>
                <a:tailEnd/>
              </a:ln>
            </p:spPr>
          </p:pic>
          <p:sp>
            <p:nvSpPr>
              <p:cNvPr id="53" name="Oval 5"/>
              <p:cNvSpPr>
                <a:spLocks noChangeArrowheads="1"/>
              </p:cNvSpPr>
              <p:nvPr/>
            </p:nvSpPr>
            <p:spPr bwMode="auto">
              <a:xfrm>
                <a:off x="3182303" y="3813043"/>
                <a:ext cx="1465264" cy="281431"/>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54" name="Rounded Rectangle 53"/>
              <p:cNvSpPr/>
              <p:nvPr/>
            </p:nvSpPr>
            <p:spPr>
              <a:xfrm>
                <a:off x="343408" y="1164754"/>
                <a:ext cx="1347216" cy="609600"/>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200" b="1" dirty="0" smtClean="0">
                    <a:solidFill>
                      <a:srgbClr val="000000"/>
                    </a:solidFill>
                    <a:latin typeface="Calibri" pitchFamily="34" charset="0"/>
                  </a:rPr>
                  <a:t>Click on </a:t>
                </a:r>
                <a:br>
                  <a:rPr lang="en-GB" sz="1200" b="1" dirty="0" smtClean="0">
                    <a:solidFill>
                      <a:srgbClr val="000000"/>
                    </a:solidFill>
                    <a:latin typeface="Calibri" pitchFamily="34" charset="0"/>
                  </a:rPr>
                </a:br>
                <a:r>
                  <a:rPr lang="en-GB" sz="1200" b="1" dirty="0" smtClean="0">
                    <a:solidFill>
                      <a:srgbClr val="000000"/>
                    </a:solidFill>
                    <a:latin typeface="Calibri" pitchFamily="34" charset="0"/>
                  </a:rPr>
                  <a:t>QMS processes</a:t>
                </a:r>
                <a:endParaRPr lang="en-GB" sz="1200" b="1" dirty="0">
                  <a:solidFill>
                    <a:srgbClr val="000000"/>
                  </a:solidFill>
                  <a:latin typeface="Calibri" pitchFamily="34" charset="0"/>
                </a:endParaRPr>
              </a:p>
            </p:txBody>
          </p:sp>
          <p:sp>
            <p:nvSpPr>
              <p:cNvPr id="55" name="Rounded Rectangle 54"/>
              <p:cNvSpPr/>
              <p:nvPr/>
            </p:nvSpPr>
            <p:spPr>
              <a:xfrm>
                <a:off x="356616" y="1983232"/>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100" b="1" dirty="0" smtClean="0">
                    <a:solidFill>
                      <a:srgbClr val="000000"/>
                    </a:solidFill>
                    <a:latin typeface="Calibri" pitchFamily="34" charset="0"/>
                  </a:rPr>
                  <a:t>References to </a:t>
                </a:r>
                <a:br>
                  <a:rPr lang="en-GB" sz="1100" b="1" dirty="0" smtClean="0">
                    <a:solidFill>
                      <a:srgbClr val="000000"/>
                    </a:solidFill>
                    <a:latin typeface="Calibri" pitchFamily="34" charset="0"/>
                  </a:rPr>
                </a:br>
                <a:r>
                  <a:rPr lang="en-GB" sz="1100" b="1" dirty="0" smtClean="0">
                    <a:solidFill>
                      <a:srgbClr val="000000"/>
                    </a:solidFill>
                    <a:latin typeface="Calibri" pitchFamily="34" charset="0"/>
                  </a:rPr>
                  <a:t>Organizational Processes</a:t>
                </a:r>
                <a:endParaRPr lang="en-GB" sz="1100" b="1" dirty="0">
                  <a:solidFill>
                    <a:srgbClr val="000000"/>
                  </a:solidFill>
                  <a:latin typeface="Calibri" pitchFamily="34" charset="0"/>
                </a:endParaRPr>
              </a:p>
            </p:txBody>
          </p:sp>
          <p:cxnSp>
            <p:nvCxnSpPr>
              <p:cNvPr id="56" name="Straight Arrow Connector 66"/>
              <p:cNvCxnSpPr>
                <a:endCxn id="57" idx="2"/>
              </p:cNvCxnSpPr>
              <p:nvPr/>
            </p:nvCxnSpPr>
            <p:spPr>
              <a:xfrm flipV="1">
                <a:off x="1692275" y="1417320"/>
                <a:ext cx="1297099" cy="2286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804180" y="1250472"/>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58" name="Rectangle 57"/>
              <p:cNvSpPr/>
              <p:nvPr/>
            </p:nvSpPr>
            <p:spPr>
              <a:xfrm>
                <a:off x="1955390" y="2372883"/>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sp>
            <p:nvSpPr>
              <p:cNvPr id="59" name="Rounded Rectangle 58"/>
              <p:cNvSpPr/>
              <p:nvPr/>
            </p:nvSpPr>
            <p:spPr>
              <a:xfrm>
                <a:off x="356616" y="3511297"/>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AM IM Services</a:t>
                </a:r>
                <a:endParaRPr lang="en-GB" sz="1100" b="1" dirty="0">
                  <a:solidFill>
                    <a:srgbClr val="000000"/>
                  </a:solidFill>
                  <a:latin typeface="Calibri" pitchFamily="34" charset="0"/>
                </a:endParaRPr>
              </a:p>
            </p:txBody>
          </p:sp>
          <p:sp>
            <p:nvSpPr>
              <p:cNvPr id="60" name="Rounded Rectangle 59"/>
              <p:cNvSpPr/>
              <p:nvPr/>
            </p:nvSpPr>
            <p:spPr>
              <a:xfrm>
                <a:off x="8139378" y="4862531"/>
                <a:ext cx="1385810" cy="742965"/>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Global Engineering Services</a:t>
                </a:r>
                <a:endParaRPr lang="en-GB" sz="1100" b="1" dirty="0">
                  <a:solidFill>
                    <a:srgbClr val="000000"/>
                  </a:solidFill>
                  <a:latin typeface="Calibri" pitchFamily="34" charset="0"/>
                </a:endParaRPr>
              </a:p>
            </p:txBody>
          </p:sp>
          <p:sp>
            <p:nvSpPr>
              <p:cNvPr id="61" name="Rounded Rectangle 60"/>
              <p:cNvSpPr/>
              <p:nvPr/>
            </p:nvSpPr>
            <p:spPr>
              <a:xfrm>
                <a:off x="8185165" y="3904085"/>
                <a:ext cx="1337310" cy="694968"/>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Testing Life Cycle</a:t>
                </a:r>
                <a:endParaRPr lang="en-GB" sz="1100" b="1" dirty="0">
                  <a:solidFill>
                    <a:srgbClr val="000000"/>
                  </a:solidFill>
                  <a:latin typeface="Calibri" pitchFamily="34" charset="0"/>
                </a:endParaRPr>
              </a:p>
            </p:txBody>
          </p:sp>
          <p:sp>
            <p:nvSpPr>
              <p:cNvPr id="62" name="Rectangle 61"/>
              <p:cNvSpPr/>
              <p:nvPr/>
            </p:nvSpPr>
            <p:spPr>
              <a:xfrm>
                <a:off x="6249838" y="4225995"/>
                <a:ext cx="370386" cy="166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63" name="Straight Arrow Connector 66"/>
              <p:cNvCxnSpPr>
                <a:stCxn id="58" idx="1"/>
              </p:cNvCxnSpPr>
              <p:nvPr/>
            </p:nvCxnSpPr>
            <p:spPr>
              <a:xfrm flipH="1">
                <a:off x="1697228" y="2456307"/>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4" name="Group 152"/>
              <p:cNvGrpSpPr/>
              <p:nvPr/>
            </p:nvGrpSpPr>
            <p:grpSpPr>
              <a:xfrm>
                <a:off x="1697231" y="3698119"/>
                <a:ext cx="2239032" cy="395948"/>
                <a:chOff x="1566675" y="2773589"/>
                <a:chExt cx="2066799" cy="296961"/>
              </a:xfrm>
            </p:grpSpPr>
            <p:sp>
              <p:nvSpPr>
                <p:cNvPr id="86" name="Rectangle 85"/>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7" name="Straight Arrow Connector 66"/>
                <p:cNvCxnSpPr>
                  <a:stCxn id="53" idx="0"/>
                </p:cNvCxnSpPr>
                <p:nvPr/>
              </p:nvCxnSpPr>
              <p:spPr>
                <a:xfrm rot="16200000" flipV="1">
                  <a:off x="2547134" y="1793130"/>
                  <a:ext cx="86193" cy="2047112"/>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5" name="Straight Arrow Connector 66"/>
              <p:cNvCxnSpPr/>
              <p:nvPr/>
            </p:nvCxnSpPr>
            <p:spPr>
              <a:xfrm flipV="1">
                <a:off x="7294669" y="4276229"/>
                <a:ext cx="89049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p:cNvSpPr/>
              <p:nvPr/>
            </p:nvSpPr>
            <p:spPr>
              <a:xfrm flipH="1">
                <a:off x="356616" y="4275329"/>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CSD Processes</a:t>
                </a:r>
                <a:endParaRPr lang="en-GB" sz="1100" b="1" dirty="0">
                  <a:solidFill>
                    <a:srgbClr val="000000"/>
                  </a:solidFill>
                  <a:latin typeface="Calibri" pitchFamily="34" charset="0"/>
                </a:endParaRPr>
              </a:p>
            </p:txBody>
          </p:sp>
          <p:cxnSp>
            <p:nvCxnSpPr>
              <p:cNvPr id="67" name="Straight Arrow Connector 66"/>
              <p:cNvCxnSpPr>
                <a:endCxn id="60" idx="0"/>
              </p:cNvCxnSpPr>
              <p:nvPr/>
            </p:nvCxnSpPr>
            <p:spPr>
              <a:xfrm rot="16200000" flipH="1">
                <a:off x="6845703" y="2875950"/>
                <a:ext cx="470025" cy="3503136"/>
              </a:xfrm>
              <a:prstGeom prst="bentConnector3">
                <a:avLst>
                  <a:gd name="adj1" fmla="val 5720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356616" y="2747264"/>
                <a:ext cx="1334008"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1100" b="1" dirty="0" smtClean="0">
                    <a:solidFill>
                      <a:srgbClr val="000000"/>
                    </a:solidFill>
                    <a:latin typeface="Calibri" pitchFamily="34" charset="0"/>
                  </a:rPr>
                  <a:t>References to Unified </a:t>
                </a:r>
                <a:br>
                  <a:rPr lang="en-US" sz="1100" b="1" dirty="0" smtClean="0">
                    <a:solidFill>
                      <a:srgbClr val="000000"/>
                    </a:solidFill>
                    <a:latin typeface="Calibri" pitchFamily="34" charset="0"/>
                  </a:rPr>
                </a:br>
                <a:r>
                  <a:rPr lang="en-US" sz="1100" b="1" dirty="0" smtClean="0">
                    <a:solidFill>
                      <a:srgbClr val="000000"/>
                    </a:solidFill>
                    <a:latin typeface="Calibri" pitchFamily="34" charset="0"/>
                  </a:rPr>
                  <a:t>Project</a:t>
                </a:r>
              </a:p>
              <a:p>
                <a:pPr algn="ctr">
                  <a:defRPr/>
                </a:pPr>
                <a:r>
                  <a:rPr lang="en-US" sz="1100" b="1" dirty="0" smtClean="0">
                    <a:solidFill>
                      <a:srgbClr val="000000"/>
                    </a:solidFill>
                    <a:latin typeface="Calibri" pitchFamily="34" charset="0"/>
                  </a:rPr>
                  <a:t>Management</a:t>
                </a:r>
              </a:p>
            </p:txBody>
          </p:sp>
          <p:cxnSp>
            <p:nvCxnSpPr>
              <p:cNvPr id="69" name="Straight Arrow Connector 66"/>
              <p:cNvCxnSpPr/>
              <p:nvPr/>
            </p:nvCxnSpPr>
            <p:spPr>
              <a:xfrm flipH="1">
                <a:off x="1697228" y="3186176"/>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0" name="Group 153"/>
              <p:cNvGrpSpPr/>
              <p:nvPr/>
            </p:nvGrpSpPr>
            <p:grpSpPr>
              <a:xfrm flipV="1">
                <a:off x="1703833" y="4242818"/>
                <a:ext cx="2232430" cy="422655"/>
                <a:chOff x="1572769" y="2790135"/>
                <a:chExt cx="2060705" cy="316991"/>
              </a:xfrm>
            </p:grpSpPr>
            <p:sp>
              <p:nvSpPr>
                <p:cNvPr id="84" name="Rectangle 83"/>
                <p:cNvSpPr/>
                <p:nvPr/>
              </p:nvSpPr>
              <p:spPr>
                <a:xfrm>
                  <a:off x="3291579" y="2981990"/>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5" name="Straight Arrow Connector 66"/>
                <p:cNvCxnSpPr>
                  <a:stCxn id="84" idx="0"/>
                </p:cNvCxnSpPr>
                <p:nvPr/>
              </p:nvCxnSpPr>
              <p:spPr>
                <a:xfrm rot="16200000" flipV="1">
                  <a:off x="2421721" y="1941183"/>
                  <a:ext cx="191855" cy="188975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1" name="Rounded Rectangle 70"/>
              <p:cNvSpPr/>
              <p:nvPr/>
            </p:nvSpPr>
            <p:spPr>
              <a:xfrm flipH="1">
                <a:off x="356616" y="5039361"/>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Common Processes</a:t>
                </a:r>
                <a:endParaRPr lang="en-GB" sz="1100" b="1" dirty="0">
                  <a:solidFill>
                    <a:srgbClr val="000000"/>
                  </a:solidFill>
                  <a:latin typeface="Calibri" pitchFamily="34" charset="0"/>
                </a:endParaRPr>
              </a:p>
            </p:txBody>
          </p:sp>
          <p:cxnSp>
            <p:nvCxnSpPr>
              <p:cNvPr id="72" name="Straight Arrow Connector 66"/>
              <p:cNvCxnSpPr/>
              <p:nvPr/>
            </p:nvCxnSpPr>
            <p:spPr>
              <a:xfrm flipH="1">
                <a:off x="1697228" y="5299457"/>
                <a:ext cx="25816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oup 167"/>
              <p:cNvGrpSpPr/>
              <p:nvPr/>
            </p:nvGrpSpPr>
            <p:grpSpPr>
              <a:xfrm flipH="1">
                <a:off x="6465963" y="3630267"/>
                <a:ext cx="1719203" cy="463796"/>
                <a:chOff x="1566672" y="2824278"/>
                <a:chExt cx="2066802" cy="246272"/>
              </a:xfrm>
            </p:grpSpPr>
            <p:sp>
              <p:nvSpPr>
                <p:cNvPr id="82" name="Rectangle 81"/>
                <p:cNvSpPr/>
                <p:nvPr/>
              </p:nvSpPr>
              <p:spPr>
                <a:xfrm>
                  <a:off x="3291579" y="2945414"/>
                  <a:ext cx="341895" cy="125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latin typeface="Calibri"/>
                    <a:sym typeface="Calibri"/>
                  </a:endParaRPr>
                </a:p>
              </p:txBody>
            </p:sp>
            <p:cxnSp>
              <p:nvCxnSpPr>
                <p:cNvPr id="83" name="Straight Arrow Connector 66"/>
                <p:cNvCxnSpPr>
                  <a:stCxn id="81" idx="0"/>
                </p:cNvCxnSpPr>
                <p:nvPr/>
              </p:nvCxnSpPr>
              <p:spPr>
                <a:xfrm rot="16200000" flipV="1">
                  <a:off x="2381756" y="2009194"/>
                  <a:ext cx="97055" cy="172722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4" name="Rounded Rectangle 73"/>
              <p:cNvSpPr/>
              <p:nvPr/>
            </p:nvSpPr>
            <p:spPr>
              <a:xfrm flipH="1">
                <a:off x="8185165" y="2372883"/>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TSP Processes</a:t>
                </a:r>
                <a:endParaRPr lang="en-GB" sz="1100" b="1" dirty="0">
                  <a:solidFill>
                    <a:srgbClr val="000000"/>
                  </a:solidFill>
                  <a:latin typeface="Calibri" pitchFamily="34" charset="0"/>
                </a:endParaRPr>
              </a:p>
            </p:txBody>
          </p:sp>
          <p:sp>
            <p:nvSpPr>
              <p:cNvPr id="75" name="Rounded Rectangle 74"/>
              <p:cNvSpPr/>
              <p:nvPr/>
            </p:nvSpPr>
            <p:spPr>
              <a:xfrm flipH="1">
                <a:off x="8185165" y="3155438"/>
                <a:ext cx="1337310" cy="609600"/>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smtClean="0">
                    <a:solidFill>
                      <a:srgbClr val="000000"/>
                    </a:solidFill>
                    <a:latin typeface="Calibri" pitchFamily="34" charset="0"/>
                  </a:rPr>
                  <a:t>References to India Agile Processes</a:t>
                </a:r>
                <a:endParaRPr lang="en-GB" sz="1100" b="1" dirty="0">
                  <a:solidFill>
                    <a:srgbClr val="000000"/>
                  </a:solidFill>
                  <a:latin typeface="Calibri" pitchFamily="34" charset="0"/>
                </a:endParaRPr>
              </a:p>
            </p:txBody>
          </p:sp>
          <p:cxnSp>
            <p:nvCxnSpPr>
              <p:cNvPr id="76" name="Straight Arrow Connector 66"/>
              <p:cNvCxnSpPr>
                <a:stCxn id="79" idx="0"/>
                <a:endCxn id="74" idx="3"/>
              </p:cNvCxnSpPr>
              <p:nvPr/>
            </p:nvCxnSpPr>
            <p:spPr>
              <a:xfrm rot="5400000" flipH="1" flipV="1">
                <a:off x="6235840" y="1863719"/>
                <a:ext cx="1135360" cy="2763290"/>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Oval 5"/>
              <p:cNvSpPr>
                <a:spLocks noChangeArrowheads="1"/>
              </p:cNvSpPr>
              <p:nvPr/>
            </p:nvSpPr>
            <p:spPr bwMode="auto">
              <a:xfrm>
                <a:off x="3182303" y="4101075"/>
                <a:ext cx="1465264" cy="25102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78" name="Oval 5"/>
              <p:cNvSpPr>
                <a:spLocks noChangeArrowheads="1"/>
              </p:cNvSpPr>
              <p:nvPr/>
            </p:nvSpPr>
            <p:spPr bwMode="auto">
              <a:xfrm>
                <a:off x="4689243" y="4135865"/>
                <a:ext cx="1465264" cy="21623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79" name="Oval 5"/>
              <p:cNvSpPr>
                <a:spLocks noChangeArrowheads="1"/>
              </p:cNvSpPr>
              <p:nvPr/>
            </p:nvSpPr>
            <p:spPr bwMode="auto">
              <a:xfrm>
                <a:off x="4689243" y="3813043"/>
                <a:ext cx="1465264" cy="264243"/>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80" name="Oval 5"/>
              <p:cNvSpPr>
                <a:spLocks noChangeArrowheads="1"/>
              </p:cNvSpPr>
              <p:nvPr/>
            </p:nvSpPr>
            <p:spPr bwMode="auto">
              <a:xfrm>
                <a:off x="6202191" y="4135865"/>
                <a:ext cx="1092479" cy="216237"/>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sp>
            <p:nvSpPr>
              <p:cNvPr id="81" name="Oval 5"/>
              <p:cNvSpPr>
                <a:spLocks noChangeArrowheads="1"/>
              </p:cNvSpPr>
              <p:nvPr/>
            </p:nvSpPr>
            <p:spPr bwMode="auto">
              <a:xfrm>
                <a:off x="6202191" y="3813045"/>
                <a:ext cx="1092479" cy="264241"/>
              </a:xfrm>
              <a:prstGeom prst="rect">
                <a:avLst/>
              </a:prstGeom>
              <a:noFill/>
              <a:ln w="12700" algn="ctr">
                <a:solidFill>
                  <a:schemeClr val="tx1"/>
                </a:solidFill>
                <a:round/>
                <a:headEnd/>
                <a:tailEnd/>
              </a:ln>
            </p:spPr>
            <p:txBody>
              <a:bodyPr/>
              <a:lstStyle/>
              <a:p>
                <a:pPr defTabSz="894055">
                  <a:lnSpc>
                    <a:spcPct val="110000"/>
                  </a:lnSpc>
                  <a:spcBef>
                    <a:spcPct val="50000"/>
                  </a:spcBef>
                </a:pPr>
                <a:endParaRPr lang="en-US" dirty="0">
                  <a:latin typeface="Calibri"/>
                  <a:sym typeface="Calibri"/>
                </a:endParaRPr>
              </a:p>
            </p:txBody>
          </p:sp>
        </p:grpSp>
        <p:sp>
          <p:nvSpPr>
            <p:cNvPr id="47" name="Freeform 46"/>
            <p:cNvSpPr/>
            <p:nvPr/>
          </p:nvSpPr>
          <p:spPr>
            <a:xfrm>
              <a:off x="1955390" y="2122696"/>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48" name="Freeform 47"/>
            <p:cNvSpPr/>
            <p:nvPr/>
          </p:nvSpPr>
          <p:spPr>
            <a:xfrm>
              <a:off x="1955390" y="2948947"/>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49" name="Freeform 48"/>
            <p:cNvSpPr/>
            <p:nvPr/>
          </p:nvSpPr>
          <p:spPr>
            <a:xfrm>
              <a:off x="1955390" y="3765037"/>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sp>
          <p:nvSpPr>
            <p:cNvPr id="50" name="Freeform 49"/>
            <p:cNvSpPr/>
            <p:nvPr/>
          </p:nvSpPr>
          <p:spPr>
            <a:xfrm>
              <a:off x="1955390" y="4581128"/>
              <a:ext cx="1255805" cy="725491"/>
            </a:xfrm>
            <a:custGeom>
              <a:avLst/>
              <a:gdLst>
                <a:gd name="connsiteX0" fmla="*/ 0 w 1085545"/>
                <a:gd name="connsiteY0" fmla="*/ 0 h 544118"/>
                <a:gd name="connsiteX1" fmla="*/ 1085545 w 1085545"/>
                <a:gd name="connsiteY1" fmla="*/ 0 h 544118"/>
                <a:gd name="connsiteX2" fmla="*/ 1085545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642789 w 1085545"/>
                <a:gd name="connsiteY2" fmla="*/ 544118 h 544118"/>
                <a:gd name="connsiteX3" fmla="*/ 0 w 1085545"/>
                <a:gd name="connsiteY3" fmla="*/ 544118 h 544118"/>
                <a:gd name="connsiteX4" fmla="*/ 0 w 1085545"/>
                <a:gd name="connsiteY4" fmla="*/ 0 h 544118"/>
                <a:gd name="connsiteX0" fmla="*/ 0 w 1085545"/>
                <a:gd name="connsiteY0" fmla="*/ 0 h 544118"/>
                <a:gd name="connsiteX1" fmla="*/ 1085545 w 1085545"/>
                <a:gd name="connsiteY1" fmla="*/ 0 h 544118"/>
                <a:gd name="connsiteX2" fmla="*/ 750801 w 1085545"/>
                <a:gd name="connsiteY2" fmla="*/ 544118 h 544118"/>
                <a:gd name="connsiteX3" fmla="*/ 0 w 1085545"/>
                <a:gd name="connsiteY3" fmla="*/ 544118 h 544118"/>
                <a:gd name="connsiteX4" fmla="*/ 0 w 1085545"/>
                <a:gd name="connsiteY4" fmla="*/ 0 h 544118"/>
                <a:gd name="connsiteX0" fmla="*/ 0 w 1132535"/>
                <a:gd name="connsiteY0" fmla="*/ 0 h 544118"/>
                <a:gd name="connsiteX1" fmla="*/ 1132535 w 1132535"/>
                <a:gd name="connsiteY1" fmla="*/ 0 h 544118"/>
                <a:gd name="connsiteX2" fmla="*/ 750801 w 1132535"/>
                <a:gd name="connsiteY2" fmla="*/ 544118 h 544118"/>
                <a:gd name="connsiteX3" fmla="*/ 0 w 1132535"/>
                <a:gd name="connsiteY3" fmla="*/ 544118 h 544118"/>
                <a:gd name="connsiteX4" fmla="*/ 0 w 1132535"/>
                <a:gd name="connsiteY4" fmla="*/ 0 h 54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535" h="544118">
                  <a:moveTo>
                    <a:pt x="0" y="0"/>
                  </a:moveTo>
                  <a:lnTo>
                    <a:pt x="1132535" y="0"/>
                  </a:lnTo>
                  <a:lnTo>
                    <a:pt x="750801" y="544118"/>
                  </a:lnTo>
                  <a:lnTo>
                    <a:pt x="0" y="544118"/>
                  </a:lnTo>
                  <a:lnTo>
                    <a:pt x="0" y="0"/>
                  </a:lnTo>
                  <a:close/>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en-GB"/>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blinds(horizontal)">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1">
                                            <p:txEl>
                                              <p:pRg st="1" end="1"/>
                                            </p:txEl>
                                          </p:spTgt>
                                        </p:tgtEl>
                                        <p:attrNameLst>
                                          <p:attrName>style.visibility</p:attrName>
                                        </p:attrNameLst>
                                      </p:cBhvr>
                                      <p:to>
                                        <p:strVal val="visible"/>
                                      </p:to>
                                    </p:set>
                                    <p:animEffect transition="in" filter="blinds(horizontal)">
                                      <p:cBhvr>
                                        <p:cTn id="7" dur="500"/>
                                        <p:tgtEl>
                                          <p:spTgt spid="2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1">
                                            <p:txEl>
                                              <p:pRg st="0" end="0"/>
                                            </p:txEl>
                                          </p:spTgt>
                                        </p:tgtEl>
                                        <p:attrNameLst>
                                          <p:attrName>style.visibility</p:attrName>
                                        </p:attrNameLst>
                                      </p:cBhvr>
                                      <p:to>
                                        <p:strVal val="visible"/>
                                      </p:to>
                                    </p:set>
                                    <p:animEffect transition="in" filter="blinds(horizontal)">
                                      <p:cBhvr>
                                        <p:cTn id="12" dur="500"/>
                                        <p:tgtEl>
                                          <p:spTgt spid="2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1">
                                            <p:txEl>
                                              <p:pRg st="2" end="2"/>
                                            </p:txEl>
                                          </p:spTgt>
                                        </p:tgtEl>
                                        <p:attrNameLst>
                                          <p:attrName>style.visibility</p:attrName>
                                        </p:attrNameLst>
                                      </p:cBhvr>
                                      <p:to>
                                        <p:strVal val="visible"/>
                                      </p:to>
                                    </p:set>
                                    <p:animEffect transition="in" filter="blinds(horizontal)">
                                      <p:cBhvr>
                                        <p:cTn id="17" dur="500"/>
                                        <p:tgtEl>
                                          <p:spTgt spid="2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21">
                                            <p:txEl>
                                              <p:pRg st="3" end="3"/>
                                            </p:txEl>
                                          </p:spTgt>
                                        </p:tgtEl>
                                        <p:attrNameLst>
                                          <p:attrName>style.visibility</p:attrName>
                                        </p:attrNameLst>
                                      </p:cBhvr>
                                      <p:to>
                                        <p:strVal val="visible"/>
                                      </p:to>
                                    </p:set>
                                    <p:animEffect transition="in" filter="blinds(horizontal)">
                                      <p:cBhvr>
                                        <p:cTn id="22" dur="500"/>
                                        <p:tgtEl>
                                          <p:spTgt spid="2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1">
                                            <p:txEl>
                                              <p:pRg st="4" end="4"/>
                                            </p:txEl>
                                          </p:spTgt>
                                        </p:tgtEl>
                                        <p:attrNameLst>
                                          <p:attrName>style.visibility</p:attrName>
                                        </p:attrNameLst>
                                      </p:cBhvr>
                                      <p:to>
                                        <p:strVal val="visible"/>
                                      </p:to>
                                    </p:set>
                                    <p:animEffect transition="in" filter="blinds(horizontal)">
                                      <p:cBhvr>
                                        <p:cTn id="27" dur="500"/>
                                        <p:tgtEl>
                                          <p:spTgt spid="2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21">
                                            <p:txEl>
                                              <p:pRg st="5" end="5"/>
                                            </p:txEl>
                                          </p:spTgt>
                                        </p:tgtEl>
                                        <p:attrNameLst>
                                          <p:attrName>style.visibility</p:attrName>
                                        </p:attrNameLst>
                                      </p:cBhvr>
                                      <p:to>
                                        <p:strVal val="visible"/>
                                      </p:to>
                                    </p:set>
                                    <p:animEffect transition="in" filter="blinds(horizontal)">
                                      <p:cBhvr>
                                        <p:cTn id="32" dur="500"/>
                                        <p:tgtEl>
                                          <p:spTgt spid="21">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21">
                                            <p:txEl>
                                              <p:pRg st="6" end="6"/>
                                            </p:txEl>
                                          </p:spTgt>
                                        </p:tgtEl>
                                        <p:attrNameLst>
                                          <p:attrName>style.visibility</p:attrName>
                                        </p:attrNameLst>
                                      </p:cBhvr>
                                      <p:to>
                                        <p:strVal val="visible"/>
                                      </p:to>
                                    </p:set>
                                    <p:animEffect transition="in" filter="blinds(horizontal)">
                                      <p:cBhvr>
                                        <p:cTn id="37" dur="500"/>
                                        <p:tgtEl>
                                          <p:spTgt spid="21">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21">
                                            <p:txEl>
                                              <p:pRg st="7" end="7"/>
                                            </p:txEl>
                                          </p:spTgt>
                                        </p:tgtEl>
                                        <p:attrNameLst>
                                          <p:attrName>style.visibility</p:attrName>
                                        </p:attrNameLst>
                                      </p:cBhvr>
                                      <p:to>
                                        <p:strVal val="visible"/>
                                      </p:to>
                                    </p:set>
                                    <p:animEffect transition="in" filter="blinds(horizontal)">
                                      <p:cBhvr>
                                        <p:cTn id="42" dur="500"/>
                                        <p:tgtEl>
                                          <p:spTgt spid="21">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21">
                                            <p:txEl>
                                              <p:pRg st="8" end="8"/>
                                            </p:txEl>
                                          </p:spTgt>
                                        </p:tgtEl>
                                        <p:attrNameLst>
                                          <p:attrName>style.visibility</p:attrName>
                                        </p:attrNameLst>
                                      </p:cBhvr>
                                      <p:to>
                                        <p:strVal val="visible"/>
                                      </p:to>
                                    </p:set>
                                    <p:animEffect transition="in" filter="blinds(horizontal)">
                                      <p:cBhvr>
                                        <p:cTn id="47" dur="500"/>
                                        <p:tgtEl>
                                          <p:spTgt spid="21">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21">
                                            <p:txEl>
                                              <p:pRg st="9" end="9"/>
                                            </p:txEl>
                                          </p:spTgt>
                                        </p:tgtEl>
                                        <p:attrNameLst>
                                          <p:attrName>style.visibility</p:attrName>
                                        </p:attrNameLst>
                                      </p:cBhvr>
                                      <p:to>
                                        <p:strVal val="visible"/>
                                      </p:to>
                                    </p:set>
                                    <p:animEffect transition="in" filter="blinds(horizontal)">
                                      <p:cBhvr>
                                        <p:cTn id="52" dur="500"/>
                                        <p:tgtEl>
                                          <p:spTgt spid="2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pPr marL="342900" indent="-342900"/>
            <a:r>
              <a:rPr lang="en-US" sz="2400" dirty="0" smtClean="0"/>
              <a:t>QMS Portal &amp; Its Navigation Continued…</a:t>
            </a:r>
          </a:p>
        </p:txBody>
      </p:sp>
      <p:grpSp>
        <p:nvGrpSpPr>
          <p:cNvPr id="64" name="Group 63"/>
          <p:cNvGrpSpPr/>
          <p:nvPr/>
        </p:nvGrpSpPr>
        <p:grpSpPr>
          <a:xfrm>
            <a:off x="176846" y="1237022"/>
            <a:ext cx="9470074" cy="5072338"/>
            <a:chOff x="344486" y="962702"/>
            <a:chExt cx="9219834" cy="4804308"/>
          </a:xfrm>
        </p:grpSpPr>
        <p:pic>
          <p:nvPicPr>
            <p:cNvPr id="70" name="Picture 2"/>
            <p:cNvPicPr>
              <a:picLocks noChangeAspect="1" noChangeArrowheads="1"/>
            </p:cNvPicPr>
            <p:nvPr/>
          </p:nvPicPr>
          <p:blipFill>
            <a:blip r:embed="rId3" cstate="print"/>
            <a:srcRect b="711"/>
            <a:stretch>
              <a:fillRect/>
            </a:stretch>
          </p:blipFill>
          <p:spPr bwMode="auto">
            <a:xfrm>
              <a:off x="344486" y="962702"/>
              <a:ext cx="6817709" cy="4804308"/>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pic>
          <p:nvPicPr>
            <p:cNvPr id="73" name="Picture 2"/>
            <p:cNvPicPr>
              <a:picLocks noChangeAspect="1" noChangeArrowheads="1"/>
            </p:cNvPicPr>
            <p:nvPr/>
          </p:nvPicPr>
          <p:blipFill>
            <a:blip r:embed="rId4" cstate="print"/>
            <a:srcRect/>
            <a:stretch>
              <a:fillRect/>
            </a:stretch>
          </p:blipFill>
          <p:spPr bwMode="auto">
            <a:xfrm>
              <a:off x="1183212" y="2133606"/>
              <a:ext cx="2823202" cy="1925903"/>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grpSp>
          <p:nvGrpSpPr>
            <p:cNvPr id="88" name="Group 9"/>
            <p:cNvGrpSpPr/>
            <p:nvPr/>
          </p:nvGrpSpPr>
          <p:grpSpPr>
            <a:xfrm>
              <a:off x="4023046" y="1956664"/>
              <a:ext cx="5541274" cy="2865669"/>
              <a:chOff x="5156485" y="898749"/>
              <a:chExt cx="3672117" cy="1542966"/>
            </a:xfrm>
          </p:grpSpPr>
          <p:pic>
            <p:nvPicPr>
              <p:cNvPr id="89" name="Picture 3"/>
              <p:cNvPicPr>
                <a:picLocks noChangeAspect="1" noChangeArrowheads="1"/>
              </p:cNvPicPr>
              <p:nvPr/>
            </p:nvPicPr>
            <p:blipFill>
              <a:blip r:embed="rId5" cstate="print"/>
              <a:srcRect/>
              <a:stretch>
                <a:fillRect/>
              </a:stretch>
            </p:blipFill>
            <p:spPr bwMode="auto">
              <a:xfrm>
                <a:off x="5460137" y="898749"/>
                <a:ext cx="3368465" cy="1542966"/>
              </a:xfrm>
              <a:prstGeom prst="rect">
                <a:avLst/>
              </a:prstGeom>
              <a:noFill/>
              <a:ln w="9525">
                <a:solidFill>
                  <a:schemeClr val="bg1">
                    <a:lumMod val="50000"/>
                  </a:schemeClr>
                </a:solidFill>
                <a:miter lim="800000"/>
                <a:headEnd/>
                <a:tailEnd/>
              </a:ln>
              <a:effectLst>
                <a:outerShdw blurRad="50800" dist="38099" dir="2700015" rotWithShape="0">
                  <a:scrgbClr r="0" g="0" b="0">
                    <a:alpha val="40000"/>
                  </a:scrgbClr>
                </a:outerShdw>
              </a:effectLst>
            </p:spPr>
          </p:pic>
          <p:cxnSp>
            <p:nvCxnSpPr>
              <p:cNvPr id="90" name="Straight Arrow Connector 89"/>
              <p:cNvCxnSpPr/>
              <p:nvPr/>
            </p:nvCxnSpPr>
            <p:spPr bwMode="auto">
              <a:xfrm>
                <a:off x="5156485" y="1244501"/>
                <a:ext cx="306925" cy="0"/>
              </a:xfrm>
              <a:prstGeom prst="straightConnector1">
                <a:avLst/>
              </a:prstGeom>
              <a:ln w="38100">
                <a:solidFill>
                  <a:schemeClr val="accent5"/>
                </a:solidFill>
                <a:prstDash val="solid"/>
                <a:tailEnd type="triangle"/>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blinds(horizontal)">
                                      <p:cBhvr>
                                        <p:cTn id="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4" name="TextBox 3"/>
          <p:cNvSpPr txBox="1"/>
          <p:nvPr/>
        </p:nvSpPr>
        <p:spPr>
          <a:xfrm>
            <a:off x="877464" y="1508581"/>
            <a:ext cx="66968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b="1" u="sng"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Deliver</a:t>
            </a:r>
            <a:endParaRPr lang="en-US" sz="2400" dirty="0">
              <a:solidFill>
                <a:srgbClr val="002060"/>
              </a:solidFill>
            </a:endParaRPr>
          </a:p>
        </p:txBody>
      </p:sp>
      <p:pic>
        <p:nvPicPr>
          <p:cNvPr id="5" name="Picture 2"/>
          <p:cNvPicPr>
            <a:picLocks noChangeAspect="1" noChangeArrowheads="1"/>
          </p:cNvPicPr>
          <p:nvPr/>
        </p:nvPicPr>
        <p:blipFill>
          <a:blip r:embed="rId3" cstate="print"/>
          <a:srcRect l="26750" t="9767" r="38866" b="23610"/>
          <a:stretch>
            <a:fillRect/>
          </a:stretch>
        </p:blipFill>
        <p:spPr bwMode="auto">
          <a:xfrm>
            <a:off x="76201" y="1481406"/>
            <a:ext cx="4278184" cy="4538394"/>
          </a:xfrm>
          <a:prstGeom prst="rect">
            <a:avLst/>
          </a:prstGeom>
          <a:noFill/>
          <a:ln w="9525">
            <a:noFill/>
            <a:miter lim="800000"/>
            <a:headEnd/>
            <a:tailEnd/>
          </a:ln>
          <a:effectLst>
            <a:outerShdw blurRad="50800" dist="38099" dir="2700015" rotWithShape="0">
              <a:scrgbClr r="0" g="0" b="0">
                <a:alpha val="40000"/>
              </a:scrgbClr>
            </a:outerShdw>
          </a:effectLst>
        </p:spPr>
      </p:pic>
      <p:sp>
        <p:nvSpPr>
          <p:cNvPr id="9" name="Text Box 6"/>
          <p:cNvSpPr txBox="1">
            <a:spLocks noChangeArrowheads="1"/>
          </p:cNvSpPr>
          <p:nvPr/>
        </p:nvSpPr>
        <p:spPr bwMode="auto">
          <a:xfrm>
            <a:off x="4463553" y="1652046"/>
            <a:ext cx="5505014" cy="4676748"/>
          </a:xfrm>
          <a:prstGeom prst="rect">
            <a:avLst/>
          </a:prstGeom>
          <a:noFill/>
          <a:ln>
            <a:noFill/>
            <a:headEnd/>
            <a:tailEnd/>
          </a:ln>
          <a:effectLst/>
        </p:spPr>
        <p:style>
          <a:lnRef idx="1">
            <a:schemeClr val="accent5"/>
          </a:lnRef>
          <a:fillRef idx="2">
            <a:schemeClr val="accent5"/>
          </a:fillRef>
          <a:effectRef idx="1">
            <a:schemeClr val="accent5"/>
          </a:effectRef>
          <a:fontRef idx="minor">
            <a:schemeClr val="dk1"/>
          </a:fontRef>
        </p:style>
        <p:txBody>
          <a:bodyPr wrap="square" lIns="179980" tIns="0" rIns="179980" bIns="35996" anchor="ctr">
            <a:noAutofit/>
          </a:bodyPr>
          <a:lstStyle/>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DELIVER is the Capgemini Global Methods Environment</a:t>
            </a:r>
          </a:p>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DELIVER provides frameworks, methods, techniques and tools for managing and delivering all types of programs, projects and services</a:t>
            </a:r>
          </a:p>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It consists of processes for business development, architecture design , application development, package implementation and support services</a:t>
            </a:r>
          </a:p>
          <a:p>
            <a:pPr marL="233337" indent="-233337">
              <a:spcBef>
                <a:spcPts val="704"/>
              </a:spcBef>
              <a:spcAft>
                <a:spcPts val="704"/>
              </a:spcAft>
              <a:buClr>
                <a:schemeClr val="tx1"/>
              </a:buClr>
              <a:buSzPct val="100000"/>
              <a:buFont typeface="Wingdings" pitchFamily="2" charset="2"/>
              <a:buChar char="§"/>
              <a:defRPr/>
            </a:pPr>
            <a:r>
              <a:rPr lang="en-GB" altLang="en-US" dirty="0" smtClean="0">
                <a:solidFill>
                  <a:srgbClr val="000000"/>
                </a:solidFill>
                <a:latin typeface="Calibri" pitchFamily="34" charset="0"/>
                <a:cs typeface="Arial" pitchFamily="34" charset="0"/>
              </a:rPr>
              <a:t>The DELIVER method to manage projects is called Unified Project Management (UPM), and method to manage services is called Unified Service Management (USM)</a:t>
            </a:r>
          </a:p>
          <a:p>
            <a:pPr marL="233337" indent="-233337">
              <a:spcBef>
                <a:spcPts val="704"/>
              </a:spcBef>
              <a:spcAft>
                <a:spcPts val="704"/>
              </a:spcAft>
              <a:buClr>
                <a:schemeClr val="tx1"/>
              </a:buClr>
              <a:buSzPct val="100000"/>
              <a:buFont typeface="Wingdings" pitchFamily="2" charset="2"/>
              <a:buChar char="§"/>
              <a:defRPr/>
            </a:pPr>
            <a:r>
              <a:rPr lang="en-US" altLang="en-US" dirty="0" smtClean="0">
                <a:solidFill>
                  <a:srgbClr val="000000"/>
                </a:solidFill>
                <a:latin typeface="Calibri" pitchFamily="34" charset="0"/>
                <a:cs typeface="Arial" pitchFamily="34" charset="0"/>
              </a:rPr>
              <a:t>India QMS is built based on Deliver methods and is aligned to group processes.</a:t>
            </a:r>
          </a:p>
          <a:p>
            <a:pPr marL="233337" indent="-233337">
              <a:spcBef>
                <a:spcPts val="704"/>
              </a:spcBef>
              <a:spcAft>
                <a:spcPts val="704"/>
              </a:spcAft>
              <a:buClr>
                <a:schemeClr val="tx1"/>
              </a:buClr>
              <a:buSzPct val="100000"/>
              <a:buFont typeface="Wingdings" pitchFamily="2" charset="2"/>
              <a:buChar char="§"/>
              <a:defRPr/>
            </a:pPr>
            <a:endParaRPr lang="en-GB" altLang="en-US" dirty="0">
              <a:solidFill>
                <a:srgbClr val="000000"/>
              </a:solidFill>
              <a:latin typeface="Calibri" pitchFamily="34" charset="0"/>
              <a:cs typeface="Arial" pitchFamily="34" charset="0"/>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1000"/>
                                        <p:tgtEl>
                                          <p:spTgt spid="9">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xEl>
                                              <p:pRg st="2" end="2"/>
                                            </p:txEl>
                                          </p:spTgt>
                                        </p:tgtEl>
                                        <p:attrNameLst>
                                          <p:attrName>style.visibility</p:attrName>
                                        </p:attrNameLst>
                                      </p:cBhvr>
                                      <p:to>
                                        <p:strVal val="visible"/>
                                      </p:to>
                                    </p:set>
                                    <p:animEffect transition="in" filter="fade">
                                      <p:cBhvr>
                                        <p:cTn id="20" dur="1000"/>
                                        <p:tgtEl>
                                          <p:spTgt spid="9">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animEffect transition="in" filter="fade">
                                      <p:cBhvr>
                                        <p:cTn id="25" dur="1000"/>
                                        <p:tgtEl>
                                          <p:spTgt spid="9">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9">
                                            <p:txEl>
                                              <p:pRg st="4" end="4"/>
                                            </p:txEl>
                                          </p:spTgt>
                                        </p:tgtEl>
                                        <p:attrNameLst>
                                          <p:attrName>style.visibility</p:attrName>
                                        </p:attrNameLst>
                                      </p:cBhvr>
                                      <p:to>
                                        <p:strVal val="visible"/>
                                      </p:to>
                                    </p:set>
                                    <p:animEffect transition="in" filter="fade">
                                      <p:cBhvr>
                                        <p:cTn id="30" dur="1000"/>
                                        <p:tgtEl>
                                          <p:spTgt spid="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4" name="TextBox 3"/>
          <p:cNvSpPr txBox="1"/>
          <p:nvPr/>
        </p:nvSpPr>
        <p:spPr>
          <a:xfrm>
            <a:off x="816504" y="1478101"/>
            <a:ext cx="727593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b="1" u="sng"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KM Portal – Best Practice/Sample Records Database</a:t>
            </a:r>
            <a:endParaRPr lang="en-US" sz="2400" dirty="0">
              <a:solidFill>
                <a:srgbClr val="002060"/>
              </a:solidFill>
            </a:endParaRPr>
          </a:p>
        </p:txBody>
      </p:sp>
      <p:grpSp>
        <p:nvGrpSpPr>
          <p:cNvPr id="39" name="Group 38"/>
          <p:cNvGrpSpPr/>
          <p:nvPr/>
        </p:nvGrpSpPr>
        <p:grpSpPr>
          <a:xfrm>
            <a:off x="301509" y="1412293"/>
            <a:ext cx="9257781" cy="4624619"/>
            <a:chOff x="301509" y="1579933"/>
            <a:chExt cx="9257781" cy="4624619"/>
          </a:xfrm>
        </p:grpSpPr>
        <p:sp>
          <p:nvSpPr>
            <p:cNvPr id="11" name="Rounded Rectangle 10"/>
            <p:cNvSpPr/>
            <p:nvPr/>
          </p:nvSpPr>
          <p:spPr>
            <a:xfrm>
              <a:off x="346710" y="3799557"/>
              <a:ext cx="9212580" cy="1072896"/>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t"/>
            <a:lstStyle/>
            <a:p>
              <a:pPr>
                <a:defRPr/>
              </a:pPr>
              <a:r>
                <a:rPr lang="en-GB" sz="2200" dirty="0" smtClean="0">
                  <a:solidFill>
                    <a:schemeClr val="tx1"/>
                  </a:solidFill>
                  <a:latin typeface="Calibri" pitchFamily="34" charset="0"/>
                </a:rPr>
                <a:t>QA team</a:t>
              </a:r>
            </a:p>
          </p:txBody>
        </p:sp>
        <p:sp>
          <p:nvSpPr>
            <p:cNvPr id="12" name="Rounded Rectangle 11"/>
            <p:cNvSpPr/>
            <p:nvPr/>
          </p:nvSpPr>
          <p:spPr>
            <a:xfrm>
              <a:off x="346710" y="1931229"/>
              <a:ext cx="9212580" cy="1170432"/>
            </a:xfrm>
            <a:prstGeom prst="roundRect">
              <a:avLst/>
            </a:prstGeom>
            <a:solidFill>
              <a:schemeClr val="bg1">
                <a:lumMod val="95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t"/>
            <a:lstStyle/>
            <a:p>
              <a:pPr>
                <a:defRPr/>
              </a:pPr>
              <a:r>
                <a:rPr lang="en-GB" sz="2200" dirty="0" smtClean="0">
                  <a:solidFill>
                    <a:schemeClr val="tx1"/>
                  </a:solidFill>
                  <a:latin typeface="Calibri" pitchFamily="34" charset="0"/>
                </a:rPr>
                <a:t>Delivery</a:t>
              </a:r>
            </a:p>
          </p:txBody>
        </p:sp>
        <p:sp>
          <p:nvSpPr>
            <p:cNvPr id="13" name="Cloud Callout 12"/>
            <p:cNvSpPr/>
            <p:nvPr/>
          </p:nvSpPr>
          <p:spPr>
            <a:xfrm>
              <a:off x="2034540" y="1664071"/>
              <a:ext cx="2602019" cy="603347"/>
            </a:xfrm>
            <a:prstGeom prst="cloudCallout">
              <a:avLst>
                <a:gd name="adj1" fmla="val -20833"/>
                <a:gd name="adj2" fmla="val 68815"/>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91429" tIns="45715" rIns="91429" bIns="45715" anchor="ctr"/>
            <a:lstStyle/>
            <a:p>
              <a:pPr algn="ctr">
                <a:defRPr/>
              </a:pPr>
              <a:r>
                <a:rPr lang="en-GB" sz="1400" dirty="0" smtClean="0">
                  <a:solidFill>
                    <a:schemeClr val="bg1"/>
                  </a:solidFill>
                  <a:latin typeface="Calibri" pitchFamily="34" charset="0"/>
                </a:rPr>
                <a:t>What is take away from </a:t>
              </a:r>
              <a:br>
                <a:rPr lang="en-GB" sz="1400" dirty="0" smtClean="0">
                  <a:solidFill>
                    <a:schemeClr val="bg1"/>
                  </a:solidFill>
                  <a:latin typeface="Calibri" pitchFamily="34" charset="0"/>
                </a:rPr>
              </a:br>
              <a:r>
                <a:rPr lang="en-GB" sz="1400" dirty="0" smtClean="0">
                  <a:solidFill>
                    <a:schemeClr val="bg1"/>
                  </a:solidFill>
                  <a:latin typeface="Calibri" pitchFamily="34" charset="0"/>
                </a:rPr>
                <a:t>Best Practices data base</a:t>
              </a:r>
              <a:endParaRPr lang="en-GB" sz="1400" dirty="0">
                <a:solidFill>
                  <a:schemeClr val="bg1"/>
                </a:solidFill>
                <a:latin typeface="Calibri" pitchFamily="34" charset="0"/>
              </a:endParaRPr>
            </a:p>
          </p:txBody>
        </p:sp>
        <p:sp>
          <p:nvSpPr>
            <p:cNvPr id="14" name="Cloud Callout 13"/>
            <p:cNvSpPr/>
            <p:nvPr/>
          </p:nvSpPr>
          <p:spPr>
            <a:xfrm>
              <a:off x="7021275" y="1579933"/>
              <a:ext cx="2514512" cy="706683"/>
            </a:xfrm>
            <a:prstGeom prst="cloudCallout">
              <a:avLst/>
            </a:prstGeom>
            <a:solidFill>
              <a:schemeClr val="bg1">
                <a:lumMod val="50000"/>
              </a:schemeClr>
            </a:solidFill>
            <a:ln>
              <a:noFill/>
            </a:ln>
          </p:spPr>
          <p:style>
            <a:lnRef idx="1">
              <a:schemeClr val="accent1"/>
            </a:lnRef>
            <a:fillRef idx="2">
              <a:schemeClr val="accent1"/>
            </a:fillRef>
            <a:effectRef idx="1">
              <a:schemeClr val="accent1"/>
            </a:effectRef>
            <a:fontRef idx="minor">
              <a:schemeClr val="dk1"/>
            </a:fontRef>
          </p:style>
          <p:txBody>
            <a:bodyPr wrap="none" lIns="91429" tIns="45715" rIns="91429" bIns="45715" anchor="ctr"/>
            <a:lstStyle/>
            <a:p>
              <a:pPr algn="ctr">
                <a:defRPr/>
              </a:pPr>
              <a:r>
                <a:rPr lang="en-GB" sz="1400" dirty="0" smtClean="0">
                  <a:solidFill>
                    <a:schemeClr val="bg1"/>
                  </a:solidFill>
                  <a:latin typeface="Calibri" pitchFamily="34" charset="0"/>
                </a:rPr>
                <a:t>How to contribute to </a:t>
              </a:r>
              <a:br>
                <a:rPr lang="en-GB" sz="1400" dirty="0" smtClean="0">
                  <a:solidFill>
                    <a:schemeClr val="bg1"/>
                  </a:solidFill>
                  <a:latin typeface="Calibri" pitchFamily="34" charset="0"/>
                </a:rPr>
              </a:br>
              <a:r>
                <a:rPr lang="en-GB" sz="1400" dirty="0" smtClean="0">
                  <a:solidFill>
                    <a:schemeClr val="bg1"/>
                  </a:solidFill>
                  <a:latin typeface="Calibri" pitchFamily="34" charset="0"/>
                </a:rPr>
                <a:t>Best Practices data base</a:t>
              </a:r>
              <a:endParaRPr lang="en-GB" sz="1400" dirty="0">
                <a:solidFill>
                  <a:schemeClr val="bg1"/>
                </a:solidFill>
                <a:latin typeface="Calibri" pitchFamily="34" charset="0"/>
              </a:endParaRPr>
            </a:p>
          </p:txBody>
        </p:sp>
        <p:sp>
          <p:nvSpPr>
            <p:cNvPr id="15" name="Rounded Rectangle 14"/>
            <p:cNvSpPr/>
            <p:nvPr/>
          </p:nvSpPr>
          <p:spPr>
            <a:xfrm>
              <a:off x="8287274" y="2424770"/>
              <a:ext cx="1169107"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5" rIns="0" bIns="45715" anchor="ctr"/>
            <a:lstStyle/>
            <a:p>
              <a:pPr algn="ctr">
                <a:lnSpc>
                  <a:spcPct val="90000"/>
                </a:lnSpc>
                <a:defRPr/>
              </a:pPr>
              <a:r>
                <a:rPr lang="en-GB" sz="1200" dirty="0" smtClean="0">
                  <a:solidFill>
                    <a:srgbClr val="000000"/>
                  </a:solidFill>
                  <a:latin typeface="Calibri" pitchFamily="34" charset="0"/>
                </a:rPr>
                <a:t>Project submits Process Related Best Practice</a:t>
              </a:r>
              <a:endParaRPr lang="en-GB" sz="1200" dirty="0">
                <a:solidFill>
                  <a:srgbClr val="000000"/>
                </a:solidFill>
                <a:latin typeface="Calibri" pitchFamily="34" charset="0"/>
              </a:endParaRPr>
            </a:p>
          </p:txBody>
        </p:sp>
        <p:sp>
          <p:nvSpPr>
            <p:cNvPr id="16" name="Rounded Rectangle 15"/>
            <p:cNvSpPr/>
            <p:nvPr/>
          </p:nvSpPr>
          <p:spPr>
            <a:xfrm>
              <a:off x="518858" y="2424770"/>
              <a:ext cx="1277449"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Project is initiated</a:t>
              </a:r>
              <a:endParaRPr lang="en-GB" sz="1200" dirty="0">
                <a:solidFill>
                  <a:srgbClr val="000000"/>
                </a:solidFill>
                <a:latin typeface="Calibri" pitchFamily="34" charset="0"/>
              </a:endParaRPr>
            </a:p>
          </p:txBody>
        </p:sp>
        <p:sp>
          <p:nvSpPr>
            <p:cNvPr id="17" name="Rounded Rectangle 16"/>
            <p:cNvSpPr/>
            <p:nvPr/>
          </p:nvSpPr>
          <p:spPr>
            <a:xfrm>
              <a:off x="2081523" y="2424770"/>
              <a:ext cx="2372171"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Project refers to Best practices repository (Trackers, tools etc)</a:t>
              </a:r>
              <a:endParaRPr lang="en-GB" sz="1200" dirty="0">
                <a:solidFill>
                  <a:srgbClr val="000000"/>
                </a:solidFill>
                <a:latin typeface="Calibri" pitchFamily="34" charset="0"/>
              </a:endParaRPr>
            </a:p>
          </p:txBody>
        </p:sp>
        <p:sp>
          <p:nvSpPr>
            <p:cNvPr id="18" name="Rounded Rectangle 17"/>
            <p:cNvSpPr/>
            <p:nvPr/>
          </p:nvSpPr>
          <p:spPr>
            <a:xfrm>
              <a:off x="4738908" y="2424770"/>
              <a:ext cx="3263150"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Identifies practices during execution or post release which were uniquely done to achieve results</a:t>
              </a:r>
              <a:endParaRPr lang="en-GB" sz="1200" dirty="0">
                <a:solidFill>
                  <a:srgbClr val="000000"/>
                </a:solidFill>
                <a:latin typeface="Calibri" pitchFamily="34" charset="0"/>
              </a:endParaRPr>
            </a:p>
          </p:txBody>
        </p:sp>
        <p:cxnSp>
          <p:nvCxnSpPr>
            <p:cNvPr id="19" name="Straight Arrow Connector 18"/>
            <p:cNvCxnSpPr>
              <a:stCxn id="16" idx="3"/>
              <a:endCxn id="17" idx="1"/>
            </p:cNvCxnSpPr>
            <p:nvPr/>
          </p:nvCxnSpPr>
          <p:spPr>
            <a:xfrm>
              <a:off x="1796308"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7" idx="3"/>
              <a:endCxn id="18" idx="1"/>
            </p:cNvCxnSpPr>
            <p:nvPr/>
          </p:nvCxnSpPr>
          <p:spPr>
            <a:xfrm>
              <a:off x="4453694"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8" idx="3"/>
              <a:endCxn id="15" idx="1"/>
            </p:cNvCxnSpPr>
            <p:nvPr/>
          </p:nvCxnSpPr>
          <p:spPr>
            <a:xfrm>
              <a:off x="8002059" y="2722820"/>
              <a:ext cx="285215"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7797316" y="4157826"/>
              <a:ext cx="165906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SEPG evaluates and adds to Best practice repository</a:t>
              </a:r>
              <a:endParaRPr lang="en-GB" sz="1200" dirty="0">
                <a:solidFill>
                  <a:srgbClr val="000000"/>
                </a:solidFill>
                <a:latin typeface="Calibri" pitchFamily="34" charset="0"/>
              </a:endParaRPr>
            </a:p>
          </p:txBody>
        </p:sp>
        <p:sp>
          <p:nvSpPr>
            <p:cNvPr id="23" name="Rounded Rectangle 22"/>
            <p:cNvSpPr/>
            <p:nvPr/>
          </p:nvSpPr>
          <p:spPr>
            <a:xfrm>
              <a:off x="3577425"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Evaluate best practices for standardization </a:t>
              </a:r>
              <a:endParaRPr lang="en-GB" sz="1200" dirty="0">
                <a:solidFill>
                  <a:srgbClr val="000000"/>
                </a:solidFill>
                <a:latin typeface="Calibri" pitchFamily="34" charset="0"/>
              </a:endParaRPr>
            </a:p>
          </p:txBody>
        </p:sp>
        <p:sp>
          <p:nvSpPr>
            <p:cNvPr id="24" name="Rounded Rectangle 23"/>
            <p:cNvSpPr/>
            <p:nvPr/>
          </p:nvSpPr>
          <p:spPr>
            <a:xfrm>
              <a:off x="5687370"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Trigger for process initiative – Regular process </a:t>
              </a:r>
              <a:endParaRPr lang="en-GB" sz="1200" dirty="0">
                <a:solidFill>
                  <a:srgbClr val="000000"/>
                </a:solidFill>
                <a:latin typeface="Calibri" pitchFamily="34" charset="0"/>
              </a:endParaRPr>
            </a:p>
          </p:txBody>
        </p:sp>
        <p:sp>
          <p:nvSpPr>
            <p:cNvPr id="25" name="Rounded Rectangle 24"/>
            <p:cNvSpPr/>
            <p:nvPr/>
          </p:nvSpPr>
          <p:spPr>
            <a:xfrm>
              <a:off x="1467481" y="4157826"/>
              <a:ext cx="1647744" cy="596103"/>
            </a:xfrm>
            <a:prstGeom prst="roundRect">
              <a:avLst/>
            </a:prstGeom>
            <a:solidFill>
              <a:schemeClr val="accent5">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a:lnSpc>
                  <a:spcPct val="90000"/>
                </a:lnSpc>
                <a:defRPr/>
              </a:pPr>
              <a:r>
                <a:rPr lang="en-GB" sz="1200" dirty="0" smtClean="0">
                  <a:solidFill>
                    <a:srgbClr val="000000"/>
                  </a:solidFill>
                  <a:latin typeface="Calibri" pitchFamily="34" charset="0"/>
                </a:rPr>
                <a:t>Add to QMS as a process</a:t>
              </a:r>
              <a:endParaRPr lang="en-GB" sz="1200" dirty="0">
                <a:solidFill>
                  <a:srgbClr val="000000"/>
                </a:solidFill>
                <a:latin typeface="Calibri" pitchFamily="34" charset="0"/>
              </a:endParaRPr>
            </a:p>
          </p:txBody>
        </p:sp>
        <p:cxnSp>
          <p:nvCxnSpPr>
            <p:cNvPr id="26" name="Straight Arrow Connector 25"/>
            <p:cNvCxnSpPr>
              <a:stCxn id="22" idx="1"/>
              <a:endCxn id="24" idx="3"/>
            </p:cNvCxnSpPr>
            <p:nvPr/>
          </p:nvCxnSpPr>
          <p:spPr>
            <a:xfrm flipH="1">
              <a:off x="7335114" y="4455877"/>
              <a:ext cx="462202"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3" idx="1"/>
              <a:endCxn id="25" idx="3"/>
            </p:cNvCxnSpPr>
            <p:nvPr/>
          </p:nvCxnSpPr>
          <p:spPr>
            <a:xfrm flipH="1">
              <a:off x="3115225" y="4455877"/>
              <a:ext cx="462201"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24" idx="1"/>
              <a:endCxn id="23" idx="3"/>
            </p:cNvCxnSpPr>
            <p:nvPr/>
          </p:nvCxnSpPr>
          <p:spPr>
            <a:xfrm flipH="1">
              <a:off x="5225170" y="4455877"/>
              <a:ext cx="462201"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9" name="Left-Up Arrow 28"/>
            <p:cNvSpPr/>
            <p:nvPr/>
          </p:nvSpPr>
          <p:spPr>
            <a:xfrm rot="16200000">
              <a:off x="7152376" y="3044881"/>
              <a:ext cx="762248" cy="1416584"/>
            </a:xfrm>
            <a:prstGeom prst="leftUpArrow">
              <a:avLst>
                <a:gd name="adj1" fmla="val 7855"/>
                <a:gd name="adj2" fmla="val 9999"/>
                <a:gd name="adj3" fmla="val 1557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GB" dirty="0">
                <a:latin typeface="Calibri"/>
                <a:sym typeface="Calibri"/>
              </a:endParaRPr>
            </a:p>
          </p:txBody>
        </p:sp>
        <p:grpSp>
          <p:nvGrpSpPr>
            <p:cNvPr id="30" name="Group 44"/>
            <p:cNvGrpSpPr/>
            <p:nvPr/>
          </p:nvGrpSpPr>
          <p:grpSpPr>
            <a:xfrm>
              <a:off x="586953" y="3038288"/>
              <a:ext cx="6210982" cy="687587"/>
              <a:chOff x="541803" y="1844376"/>
              <a:chExt cx="5733214" cy="515690"/>
            </a:xfrm>
          </p:grpSpPr>
          <p:sp>
            <p:nvSpPr>
              <p:cNvPr id="34" name="Rounded Rectangle 33"/>
              <p:cNvSpPr/>
              <p:nvPr/>
            </p:nvSpPr>
            <p:spPr>
              <a:xfrm>
                <a:off x="2861359" y="2022100"/>
                <a:ext cx="3413658"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200" dirty="0" smtClean="0">
                    <a:solidFill>
                      <a:srgbClr val="000000"/>
                    </a:solidFill>
                    <a:latin typeface="Calibri" pitchFamily="34" charset="0"/>
                  </a:rPr>
                  <a:t>Process Related Best Practices in KM 2.0</a:t>
                </a:r>
              </a:p>
              <a:p>
                <a:pPr algn="ctr">
                  <a:defRPr/>
                </a:pPr>
                <a:r>
                  <a:rPr lang="en-GB" sz="1200" dirty="0" smtClean="0">
                    <a:solidFill>
                      <a:srgbClr val="000000"/>
                    </a:solidFill>
                    <a:latin typeface="Calibri" pitchFamily="34" charset="0"/>
                    <a:hlinkClick r:id="rId3"/>
                  </a:rPr>
                  <a:t>http://km20.capgemini.com/community/616708</a:t>
                </a:r>
                <a:r>
                  <a:rPr lang="en-GB" sz="1200" dirty="0" smtClean="0">
                    <a:solidFill>
                      <a:srgbClr val="000000"/>
                    </a:solidFill>
                    <a:latin typeface="Calibri" pitchFamily="34" charset="0"/>
                  </a:rPr>
                  <a:t> </a:t>
                </a:r>
                <a:endParaRPr lang="en-GB" sz="1200" dirty="0">
                  <a:solidFill>
                    <a:srgbClr val="000000"/>
                  </a:solidFill>
                  <a:latin typeface="Calibri" pitchFamily="34" charset="0"/>
                </a:endParaRPr>
              </a:p>
            </p:txBody>
          </p:sp>
          <p:sp>
            <p:nvSpPr>
              <p:cNvPr id="35" name="Rounded Rectangle 34"/>
              <p:cNvSpPr/>
              <p:nvPr/>
            </p:nvSpPr>
            <p:spPr>
              <a:xfrm>
                <a:off x="541803" y="2023780"/>
                <a:ext cx="2221041" cy="336286"/>
              </a:xfrm>
              <a:prstGeom prst="roundRect">
                <a:avLst/>
              </a:prstGeom>
              <a:solidFill>
                <a:schemeClr val="accent1">
                  <a:lumMod val="20000"/>
                  <a:lumOff val="80000"/>
                </a:schemeClr>
              </a:solidFill>
              <a:ln>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r>
                  <a:rPr lang="en-GB" sz="1200" dirty="0" smtClean="0">
                    <a:solidFill>
                      <a:srgbClr val="000000"/>
                    </a:solidFill>
                    <a:latin typeface="Calibri" pitchFamily="34" charset="0"/>
                  </a:rPr>
                  <a:t>Technical Best Practices in </a:t>
                </a:r>
                <a:r>
                  <a:rPr lang="en-GB" sz="1200" dirty="0" smtClean="0">
                    <a:solidFill>
                      <a:srgbClr val="000000"/>
                    </a:solidFill>
                    <a:latin typeface="Calibri" pitchFamily="34" charset="0"/>
                    <a:hlinkClick r:id="rId4"/>
                  </a:rPr>
                  <a:t>http://km20.capgemini.com/</a:t>
                </a:r>
                <a:r>
                  <a:rPr lang="en-GB" sz="1200" dirty="0" smtClean="0">
                    <a:solidFill>
                      <a:srgbClr val="000000"/>
                    </a:solidFill>
                    <a:latin typeface="Calibri" pitchFamily="34" charset="0"/>
                  </a:rPr>
                  <a:t> </a:t>
                </a:r>
                <a:endParaRPr lang="en-GB" sz="1200" dirty="0">
                  <a:solidFill>
                    <a:srgbClr val="000000"/>
                  </a:solidFill>
                  <a:latin typeface="Calibri" pitchFamily="34" charset="0"/>
                </a:endParaRPr>
              </a:p>
            </p:txBody>
          </p:sp>
          <p:grpSp>
            <p:nvGrpSpPr>
              <p:cNvPr id="36" name="Group 103"/>
              <p:cNvGrpSpPr/>
              <p:nvPr/>
            </p:nvGrpSpPr>
            <p:grpSpPr>
              <a:xfrm>
                <a:off x="2250311" y="1844376"/>
                <a:ext cx="1501217" cy="165527"/>
                <a:chOff x="2239898" y="2817407"/>
                <a:chExt cx="1626318" cy="170688"/>
              </a:xfrm>
            </p:grpSpPr>
            <p:sp>
              <p:nvSpPr>
                <p:cNvPr id="37" name="Down Arrow 36"/>
                <p:cNvSpPr/>
                <p:nvPr/>
              </p:nvSpPr>
              <p:spPr>
                <a:xfrm>
                  <a:off x="2239898" y="2817407"/>
                  <a:ext cx="101348" cy="17068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sp>
              <p:nvSpPr>
                <p:cNvPr id="38" name="Down Arrow 37"/>
                <p:cNvSpPr/>
                <p:nvPr/>
              </p:nvSpPr>
              <p:spPr>
                <a:xfrm>
                  <a:off x="3764868" y="2817407"/>
                  <a:ext cx="101348" cy="17068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sym typeface="Calibri"/>
                  </a:endParaRPr>
                </a:p>
              </p:txBody>
            </p:sp>
          </p:grpSp>
        </p:grpSp>
        <p:sp>
          <p:nvSpPr>
            <p:cNvPr id="31" name="Down Arrow 30"/>
            <p:cNvSpPr/>
            <p:nvPr/>
          </p:nvSpPr>
          <p:spPr>
            <a:xfrm>
              <a:off x="9176840" y="3049719"/>
              <a:ext cx="116124" cy="1098735"/>
            </a:xfrm>
            <a:prstGeom prst="downArrow">
              <a:avLst>
                <a:gd name="adj1" fmla="val 50000"/>
                <a:gd name="adj2" fmla="val 8761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GB" dirty="0">
                <a:latin typeface="Calibri"/>
                <a:sym typeface="Calibri"/>
              </a:endParaRPr>
            </a:p>
          </p:txBody>
        </p:sp>
        <p:sp>
          <p:nvSpPr>
            <p:cNvPr id="32" name="Rectangle 31"/>
            <p:cNvSpPr/>
            <p:nvPr/>
          </p:nvSpPr>
          <p:spPr>
            <a:xfrm>
              <a:off x="301509" y="4958067"/>
              <a:ext cx="9226550" cy="1246485"/>
            </a:xfrm>
            <a:prstGeom prst="rect">
              <a:avLst/>
            </a:prstGeom>
          </p:spPr>
          <p:txBody>
            <a:bodyPr wrap="square" lIns="91429" tIns="45715" rIns="91429" bIns="45715">
              <a:spAutoFit/>
            </a:bodyPr>
            <a:lstStyle/>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Best Practice describes the experience gained when the process is performed</a:t>
              </a:r>
            </a:p>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Project fills asset details in Best Practice / Lessons Learnt Submission Form</a:t>
              </a:r>
            </a:p>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Project sends the Best Practice / Lessons Learnt form to In, </a:t>
              </a:r>
              <a:r>
                <a:rPr lang="en-GB" sz="1500" dirty="0" err="1" smtClean="0">
                  <a:solidFill>
                    <a:srgbClr val="000000"/>
                  </a:solidFill>
                  <a:latin typeface="Calibri" pitchFamily="34" charset="0"/>
                  <a:cs typeface="Arial" charset="0"/>
                </a:rPr>
                <a:t>quality.assurance</a:t>
              </a:r>
              <a:endParaRPr lang="en-GB" sz="1500" dirty="0" smtClean="0">
                <a:solidFill>
                  <a:srgbClr val="000000"/>
                </a:solidFill>
                <a:latin typeface="Calibri" pitchFamily="34" charset="0"/>
                <a:cs typeface="Arial" charset="0"/>
              </a:endParaRPr>
            </a:p>
            <a:p>
              <a:pPr marL="228574" indent="-228574">
                <a:buClr>
                  <a:schemeClr val="tx1"/>
                </a:buClr>
                <a:buFont typeface="Wingdings" pitchFamily="2" charset="2"/>
                <a:buChar char="§"/>
              </a:pPr>
              <a:r>
                <a:rPr lang="en-GB" sz="1500" dirty="0" smtClean="0">
                  <a:solidFill>
                    <a:srgbClr val="000000"/>
                  </a:solidFill>
                  <a:latin typeface="Calibri" pitchFamily="34" charset="0"/>
                  <a:cs typeface="Arial" charset="0"/>
                </a:rPr>
                <a:t>SEPG evaluates Best Practice / Lessons Learnt and updates Organizational Best Practice / Lessons Learnt Database for process related Best Practices</a:t>
              </a:r>
            </a:p>
          </p:txBody>
        </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b="1" u="sng"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Tools Quality Implementation at </a:t>
            </a:r>
            <a:r>
              <a:rPr lang="en-GB" sz="2400" dirty="0" err="1" smtClean="0"/>
              <a:t>Capgemini</a:t>
            </a:r>
            <a:endParaRPr lang="en-US" sz="2400" dirty="0">
              <a:solidFill>
                <a:srgbClr val="002060"/>
              </a:solidFill>
            </a:endParaRPr>
          </a:p>
        </p:txBody>
      </p:sp>
      <p:grpSp>
        <p:nvGrpSpPr>
          <p:cNvPr id="33" name="Group 34"/>
          <p:cNvGrpSpPr/>
          <p:nvPr/>
        </p:nvGrpSpPr>
        <p:grpSpPr>
          <a:xfrm>
            <a:off x="860865" y="1126906"/>
            <a:ext cx="8374575" cy="589095"/>
            <a:chOff x="3633438" y="1362268"/>
            <a:chExt cx="9223569" cy="589094"/>
          </a:xfrm>
          <a:solidFill>
            <a:schemeClr val="tx1"/>
          </a:solidFill>
        </p:grpSpPr>
        <p:sp>
          <p:nvSpPr>
            <p:cNvPr id="3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b="1" dirty="0" smtClean="0">
                  <a:solidFill>
                    <a:schemeClr val="bg1"/>
                  </a:solidFill>
                  <a:latin typeface="Calibri" pitchFamily="34" charset="0"/>
                  <a:cs typeface="Arial" charset="0"/>
                </a:rPr>
                <a:t>Capgemini Recommend Tools are listed in the tabular format</a:t>
              </a:r>
            </a:p>
          </p:txBody>
        </p:sp>
        <p:sp>
          <p:nvSpPr>
            <p:cNvPr id="39"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Calibri" pitchFamily="34" charset="0"/>
              </a:endParaRPr>
            </a:p>
          </p:txBody>
        </p:sp>
      </p:grpSp>
      <p:graphicFrame>
        <p:nvGraphicFramePr>
          <p:cNvPr id="40" name="Table 39"/>
          <p:cNvGraphicFramePr>
            <a:graphicFrameLocks noGrp="1"/>
          </p:cNvGraphicFramePr>
          <p:nvPr/>
        </p:nvGraphicFramePr>
        <p:xfrm>
          <a:off x="274321" y="1675425"/>
          <a:ext cx="9433560" cy="4557735"/>
        </p:xfrm>
        <a:graphic>
          <a:graphicData uri="http://schemas.openxmlformats.org/drawingml/2006/table">
            <a:tbl>
              <a:tblPr>
                <a:tableStyleId>{073A0DAA-6AF3-43AB-8588-CEC1D06C72B9}</a:tableStyleId>
              </a:tblPr>
              <a:tblGrid>
                <a:gridCol w="3488162"/>
                <a:gridCol w="5945398"/>
              </a:tblGrid>
              <a:tr h="231932">
                <a:tc>
                  <a:txBody>
                    <a:bodyPr/>
                    <a:lstStyle/>
                    <a:p>
                      <a:pPr marL="0" marR="0">
                        <a:spcBef>
                          <a:spcPts val="0"/>
                        </a:spcBef>
                        <a:spcAft>
                          <a:spcPts val="0"/>
                        </a:spcAft>
                      </a:pPr>
                      <a:r>
                        <a:rPr lang="en-GB" sz="1400" b="1" dirty="0" smtClean="0">
                          <a:solidFill>
                            <a:schemeClr val="tx1"/>
                          </a:solidFill>
                          <a:latin typeface="Calibri" pitchFamily="34" charset="0"/>
                        </a:rPr>
                        <a:t>Stream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GB" sz="1400" b="1" dirty="0" smtClean="0">
                          <a:solidFill>
                            <a:schemeClr val="tx1"/>
                          </a:solidFill>
                          <a:latin typeface="Calibri" pitchFamily="34" charset="0"/>
                        </a:rPr>
                        <a:t>Capgemini Recommended tools</a:t>
                      </a:r>
                      <a:endParaRPr lang="en-GB" sz="1400" b="1" dirty="0">
                        <a:solidFill>
                          <a:schemeClr val="tx1"/>
                        </a:solidFill>
                        <a:latin typeface="Calibri" pitchFamily="34" charset="0"/>
                        <a:ea typeface="Calibri"/>
                        <a:cs typeface="Times New Roman"/>
                      </a:endParaRPr>
                    </a:p>
                  </a:txBody>
                  <a:tcPr marR="45720" marT="9144" marB="9144"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1 - Project Governance</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N2K, Clarity, Team Forge, QPUT,DNA Report, CI portal, 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02 - Planning And Financial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GREAT, N2K, Clarity,openWorkBench,IN_TimeCard,,Autoprome,Pricing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3 - Resourc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IN_PACE, In_IRW,GRCWEB</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04 - Scope And Requirements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Team Forge, Requisite Pro</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5 - Change Control</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6 - Risk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PMTS(Risk Assessment Too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7 - Issu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08 - Client Relationship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E-Val</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tabLst>
                          <a:tab pos="314325" algn="l"/>
                        </a:tabLst>
                      </a:pPr>
                      <a:r>
                        <a:rPr lang="en-GB" sz="1400" dirty="0" smtClean="0">
                          <a:solidFill>
                            <a:srgbClr val="000000"/>
                          </a:solidFill>
                          <a:latin typeface="Calibri" pitchFamily="34" charset="0"/>
                        </a:rPr>
                        <a:t>09 - Supplier And Procurement </a:t>
                      </a:r>
                      <a:r>
                        <a:rPr lang="en-GB" sz="1400" baseline="0" dirty="0" smtClean="0">
                          <a:solidFill>
                            <a:srgbClr val="000000"/>
                          </a:solidFill>
                          <a:latin typeface="Calibri" pitchFamily="34" charset="0"/>
                        </a:rPr>
                        <a:t> </a:t>
                      </a:r>
                      <a:r>
                        <a:rPr lang="en-GB" sz="1400" dirty="0" smtClean="0">
                          <a:solidFill>
                            <a:srgbClr val="000000"/>
                          </a:solidFill>
                          <a:latin typeface="Calibri" pitchFamily="34" charset="0"/>
                        </a:rPr>
                        <a:t>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TeamForge</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10 - Communic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GIMS+,IN_Visual Management Boards,LVIS , VVM Dashboard,A3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11 - Infrastructur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GF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12 - Configuration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Subversion,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447683">
                <a:tc>
                  <a:txBody>
                    <a:bodyPr/>
                    <a:lstStyle/>
                    <a:p>
                      <a:pPr marL="0" marR="0" algn="l">
                        <a:spcBef>
                          <a:spcPts val="0"/>
                        </a:spcBef>
                        <a:spcAft>
                          <a:spcPts val="0"/>
                        </a:spcAft>
                      </a:pPr>
                      <a:r>
                        <a:rPr lang="en-GB" sz="1400" dirty="0" smtClean="0">
                          <a:solidFill>
                            <a:srgbClr val="000000"/>
                          </a:solidFill>
                          <a:latin typeface="Calibri" pitchFamily="34" charset="0"/>
                        </a:rPr>
                        <a:t>13 - Quality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Clarity, Rational Functional Tester and Test Manager, IN_CAST, HP Quality Center,CAST,PMTS, Predictive Analysis</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231932">
                <a:tc>
                  <a:txBody>
                    <a:bodyPr/>
                    <a:lstStyle/>
                    <a:p>
                      <a:pPr marL="0" marR="0" algn="l">
                        <a:spcBef>
                          <a:spcPts val="0"/>
                        </a:spcBef>
                        <a:spcAft>
                          <a:spcPts val="0"/>
                        </a:spcAft>
                      </a:pPr>
                      <a:r>
                        <a:rPr lang="en-GB" sz="1400" dirty="0" smtClean="0">
                          <a:solidFill>
                            <a:srgbClr val="000000"/>
                          </a:solidFill>
                          <a:latin typeface="Calibri" pitchFamily="34" charset="0"/>
                        </a:rPr>
                        <a:t>14 - Knowledge Management</a:t>
                      </a:r>
                      <a:endParaRPr lang="en-GB" sz="1400" dirty="0">
                        <a:solidFill>
                          <a:srgbClr val="000000"/>
                        </a:solidFill>
                        <a:latin typeface="Calibri" pitchFamily="34" charset="0"/>
                        <a:ea typeface="Calibri"/>
                        <a:cs typeface="Times New Roman"/>
                      </a:endParaRPr>
                    </a:p>
                  </a:txBody>
                  <a:tcPr marR="45720" marT="9144" marB="9144">
                    <a:lnL w="12700" cmpd="sng">
                      <a:noFill/>
                    </a:lnL>
                    <a:lnR w="12700" cap="flat" cmpd="sng" algn="ctr">
                      <a:solidFill>
                        <a:schemeClr val="tx1"/>
                      </a:solid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GB" sz="1400" dirty="0" smtClean="0">
                          <a:solidFill>
                            <a:srgbClr val="000000"/>
                          </a:solidFill>
                          <a:latin typeface="Calibri" pitchFamily="34" charset="0"/>
                        </a:rPr>
                        <a:t>Team Forge, KM 2.0,Sharepoint</a:t>
                      </a:r>
                      <a:endParaRPr lang="en-GB" sz="1400" dirty="0">
                        <a:solidFill>
                          <a:srgbClr val="000000"/>
                        </a:solidFill>
                        <a:latin typeface="Calibri" pitchFamily="34" charset="0"/>
                        <a:ea typeface="Calibri"/>
                        <a:cs typeface="Times New Roman"/>
                      </a:endParaRPr>
                    </a:p>
                  </a:txBody>
                  <a:tcPr marR="45720" marT="9144" marB="9144">
                    <a:lnL w="12700" cap="flat" cmpd="sng" algn="ctr">
                      <a:solidFill>
                        <a:schemeClr val="tx1"/>
                      </a:solidFill>
                      <a:prstDash val="solid"/>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1000"/>
                                        <p:tgtEl>
                                          <p:spTgt spid="40"/>
                                        </p:tgtEl>
                                      </p:cBhvr>
                                    </p:animEffect>
                                    <p:anim calcmode="lin" valueType="num">
                                      <p:cBhvr>
                                        <p:cTn id="13" dur="1000" fill="hold"/>
                                        <p:tgtEl>
                                          <p:spTgt spid="40"/>
                                        </p:tgtEl>
                                        <p:attrNameLst>
                                          <p:attrName>ppt_x</p:attrName>
                                        </p:attrNameLst>
                                      </p:cBhvr>
                                      <p:tavLst>
                                        <p:tav tm="0">
                                          <p:val>
                                            <p:strVal val="#ppt_x"/>
                                          </p:val>
                                        </p:tav>
                                        <p:tav tm="100000">
                                          <p:val>
                                            <p:strVal val="#ppt_x"/>
                                          </p:val>
                                        </p:tav>
                                      </p:tavLst>
                                    </p:anim>
                                    <p:anim calcmode="lin" valueType="num">
                                      <p:cBhvr>
                                        <p:cTn id="1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b="1" u="sng"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GB" sz="2400" dirty="0" smtClean="0"/>
              <a:t>Our Continual Quality Journey…</a:t>
            </a:r>
            <a:endParaRPr lang="en-US" sz="2400" dirty="0">
              <a:solidFill>
                <a:srgbClr val="002060"/>
              </a:solidFill>
            </a:endParaRPr>
          </a:p>
        </p:txBody>
      </p:sp>
      <p:grpSp>
        <p:nvGrpSpPr>
          <p:cNvPr id="9" name="Group 8"/>
          <p:cNvGrpSpPr/>
          <p:nvPr/>
        </p:nvGrpSpPr>
        <p:grpSpPr>
          <a:xfrm>
            <a:off x="385448" y="1446947"/>
            <a:ext cx="9226550" cy="4793936"/>
            <a:chOff x="339728" y="989747"/>
            <a:chExt cx="9226550" cy="4793936"/>
          </a:xfrm>
        </p:grpSpPr>
        <p:grpSp>
          <p:nvGrpSpPr>
            <p:cNvPr id="10" name="Group 34"/>
            <p:cNvGrpSpPr/>
            <p:nvPr/>
          </p:nvGrpSpPr>
          <p:grpSpPr>
            <a:xfrm>
              <a:off x="342705" y="989747"/>
              <a:ext cx="9223569" cy="589095"/>
              <a:chOff x="3633438" y="1362268"/>
              <a:chExt cx="9223569" cy="589094"/>
            </a:xfrm>
            <a:solidFill>
              <a:schemeClr val="tx1"/>
            </a:solidFill>
          </p:grpSpPr>
          <p:sp>
            <p:nvSpPr>
              <p:cNvPr id="56" name="Rounded Rectangle 12"/>
              <p:cNvSpPr/>
              <p:nvPr/>
            </p:nvSpPr>
            <p:spPr>
              <a:xfrm>
                <a:off x="3633438" y="1362268"/>
                <a:ext cx="9223569" cy="411480"/>
              </a:xfrm>
              <a:prstGeom prst="roundRect">
                <a:avLst>
                  <a:gd name="adj" fmla="val 26894"/>
                </a:avLst>
              </a:prstGeom>
              <a:grp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182880" tIns="0" rIns="0" bIns="0" numCol="1" rtlCol="0" anchor="ctr" anchorCtr="0" compatLnSpc="1">
                <a:prstTxWarp prst="textNoShape">
                  <a:avLst/>
                </a:prstTxWarp>
              </a:bodyPr>
              <a:lstStyle/>
              <a:p>
                <a:pPr algn="ctr" defTabSz="914296" eaLnBrk="0" hangingPunct="0"/>
                <a:r>
                  <a:rPr lang="en-GB" sz="2100" b="1" dirty="0" smtClean="0">
                    <a:solidFill>
                      <a:schemeClr val="bg1"/>
                    </a:solidFill>
                    <a:latin typeface="Calibri" pitchFamily="34" charset="0"/>
                    <a:cs typeface="Arial" charset="0"/>
                  </a:rPr>
                  <a:t>6 Sigma &amp; LEAN – a continuation of our CMMi journey</a:t>
                </a:r>
              </a:p>
            </p:txBody>
          </p:sp>
          <p:sp>
            <p:nvSpPr>
              <p:cNvPr id="57" name="Freeform 11"/>
              <p:cNvSpPr>
                <a:spLocks/>
              </p:cNvSpPr>
              <p:nvPr/>
            </p:nvSpPr>
            <p:spPr bwMode="auto">
              <a:xfrm flipH="1">
                <a:off x="3658839" y="1746472"/>
                <a:ext cx="679297" cy="204890"/>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grpFill/>
              <a:ln w="38100">
                <a:noFill/>
                <a:round/>
                <a:headEnd/>
                <a:tailEnd/>
              </a:ln>
              <a:effectLst>
                <a:outerShdw blurRad="50800" dist="38100" dir="5400000" algn="t" rotWithShape="0">
                  <a:prstClr val="black">
                    <a:alpha val="40000"/>
                  </a:prstClr>
                </a:outerShdw>
              </a:effectLst>
            </p:spPr>
            <p:txBody>
              <a:bodyPr/>
              <a:lstStyle/>
              <a:p>
                <a:endParaRPr lang="en-GB" sz="2100" b="1" dirty="0">
                  <a:solidFill>
                    <a:schemeClr val="tx1">
                      <a:lumMod val="85000"/>
                      <a:lumOff val="15000"/>
                    </a:schemeClr>
                  </a:solidFill>
                  <a:latin typeface="Arial Narrow" pitchFamily="34" charset="0"/>
                </a:endParaRPr>
              </a:p>
            </p:txBody>
          </p:sp>
        </p:grpSp>
        <p:sp>
          <p:nvSpPr>
            <p:cNvPr id="11" name="Rectangle 10"/>
            <p:cNvSpPr/>
            <p:nvPr/>
          </p:nvSpPr>
          <p:spPr>
            <a:xfrm>
              <a:off x="339728" y="1549403"/>
              <a:ext cx="9226550" cy="646321"/>
            </a:xfrm>
            <a:prstGeom prst="rect">
              <a:avLst/>
            </a:prstGeom>
          </p:spPr>
          <p:txBody>
            <a:bodyPr wrap="square" lIns="91429" tIns="45715" rIns="91429" bIns="45715">
              <a:spAutoFit/>
            </a:bodyPr>
            <a:lstStyle/>
            <a:p>
              <a:pPr algn="ctr" defTabSz="914296" eaLnBrk="0" hangingPunct="0"/>
              <a:r>
                <a:rPr lang="en-GB" sz="1800" dirty="0" smtClean="0">
                  <a:solidFill>
                    <a:srgbClr val="000000"/>
                  </a:solidFill>
                  <a:latin typeface="Calibri" pitchFamily="34" charset="0"/>
                  <a:cs typeface="Arial" charset="0"/>
                </a:rPr>
                <a:t>We use 6 Sigma &amp; Lean as a vehicle for continuous improvement &amp; innovation; a pre-requisite for us to stay at CMMi Maturity Level 5 [higher level of process-predictability] </a:t>
              </a:r>
            </a:p>
          </p:txBody>
        </p:sp>
        <p:grpSp>
          <p:nvGrpSpPr>
            <p:cNvPr id="12" name="Group 115"/>
            <p:cNvGrpSpPr/>
            <p:nvPr/>
          </p:nvGrpSpPr>
          <p:grpSpPr>
            <a:xfrm>
              <a:off x="7259846" y="2460927"/>
              <a:ext cx="2231337" cy="3268892"/>
              <a:chOff x="6701394" y="1845695"/>
              <a:chExt cx="2059695" cy="2451669"/>
            </a:xfrm>
          </p:grpSpPr>
          <p:sp>
            <p:nvSpPr>
              <p:cNvPr id="49" name="Rectangle 48"/>
              <p:cNvSpPr/>
              <p:nvPr/>
            </p:nvSpPr>
            <p:spPr>
              <a:xfrm>
                <a:off x="6969013" y="4007516"/>
                <a:ext cx="1524461" cy="289848"/>
              </a:xfrm>
              <a:prstGeom prst="rect">
                <a:avLst/>
              </a:prstGeom>
            </p:spPr>
            <p:txBody>
              <a:bodyPr wrap="none" lIns="77925" tIns="38963" rIns="77925" bIns="38963">
                <a:spAutoFit/>
              </a:bodyPr>
              <a:lstStyle/>
              <a:p>
                <a:pPr algn="ctr"/>
                <a:r>
                  <a:rPr lang="en-GB" sz="2000" b="1" dirty="0" smtClean="0">
                    <a:latin typeface="Calibri" pitchFamily="34" charset="0"/>
                  </a:rPr>
                  <a:t>2016 onwards</a:t>
                </a:r>
              </a:p>
            </p:txBody>
          </p:sp>
          <p:grpSp>
            <p:nvGrpSpPr>
              <p:cNvPr id="50" name="Group 47"/>
              <p:cNvGrpSpPr/>
              <p:nvPr/>
            </p:nvGrpSpPr>
            <p:grpSpPr>
              <a:xfrm>
                <a:off x="6701394" y="1845695"/>
                <a:ext cx="2059695" cy="1878183"/>
                <a:chOff x="6966409" y="1760935"/>
                <a:chExt cx="2059695" cy="1878183"/>
              </a:xfrm>
            </p:grpSpPr>
            <p:sp>
              <p:nvSpPr>
                <p:cNvPr id="51" name="Rectangle 50"/>
                <p:cNvSpPr/>
                <p:nvPr/>
              </p:nvSpPr>
              <p:spPr>
                <a:xfrm>
                  <a:off x="6966409" y="1760935"/>
                  <a:ext cx="2059695" cy="428347"/>
                </a:xfrm>
                <a:prstGeom prst="rect">
                  <a:avLst/>
                </a:prstGeom>
              </p:spPr>
              <p:txBody>
                <a:bodyPr wrap="none" lIns="77925" tIns="38963" rIns="77925" bIns="38963">
                  <a:spAutoFit/>
                </a:bodyPr>
                <a:lstStyle/>
                <a:p>
                  <a:pPr algn="ctr"/>
                  <a:r>
                    <a:rPr lang="en-GB" sz="1600" b="1" dirty="0" smtClean="0">
                      <a:latin typeface="Calibri" pitchFamily="34" charset="0"/>
                    </a:rPr>
                    <a:t>Sustenance &amp; Continual </a:t>
                  </a:r>
                </a:p>
                <a:p>
                  <a:pPr algn="ctr"/>
                  <a:r>
                    <a:rPr lang="en-GB" sz="1600" b="1" dirty="0" smtClean="0">
                      <a:latin typeface="Calibri" pitchFamily="34" charset="0"/>
                    </a:rPr>
                    <a:t>Innovation Journey...</a:t>
                  </a:r>
                </a:p>
              </p:txBody>
            </p:sp>
            <p:sp>
              <p:nvSpPr>
                <p:cNvPr id="52" name="Right Arrow 51"/>
                <p:cNvSpPr/>
                <p:nvPr/>
              </p:nvSpPr>
              <p:spPr>
                <a:xfrm>
                  <a:off x="7663221" y="2320947"/>
                  <a:ext cx="666074" cy="430823"/>
                </a:xfrm>
                <a:prstGeom prst="rightArrow">
                  <a:avLst/>
                </a:prstGeom>
                <a:solidFill>
                  <a:schemeClr val="tx1">
                    <a:lumMod val="10000"/>
                    <a:lumOff val="90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sym typeface="Calibri"/>
                  </a:endParaRPr>
                </a:p>
              </p:txBody>
            </p:sp>
            <p:sp>
              <p:nvSpPr>
                <p:cNvPr id="53" name="Oval 40"/>
                <p:cNvSpPr/>
                <p:nvPr/>
              </p:nvSpPr>
              <p:spPr>
                <a:xfrm>
                  <a:off x="7913226" y="3518107"/>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54" name="Oval 53"/>
                <p:cNvSpPr/>
                <p:nvPr/>
              </p:nvSpPr>
              <p:spPr>
                <a:xfrm>
                  <a:off x="7913226" y="3342064"/>
                  <a:ext cx="166065" cy="12101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55" name="Oval 54"/>
                <p:cNvSpPr/>
                <p:nvPr/>
              </p:nvSpPr>
              <p:spPr>
                <a:xfrm>
                  <a:off x="7913226" y="3166021"/>
                  <a:ext cx="166065" cy="13492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grpSp>
        </p:grpSp>
        <p:grpSp>
          <p:nvGrpSpPr>
            <p:cNvPr id="13" name="Group 117"/>
            <p:cNvGrpSpPr/>
            <p:nvPr/>
          </p:nvGrpSpPr>
          <p:grpSpPr>
            <a:xfrm>
              <a:off x="2695924" y="2338255"/>
              <a:ext cx="2189226" cy="3445428"/>
              <a:chOff x="2488545" y="1753691"/>
              <a:chExt cx="2020824" cy="2584071"/>
            </a:xfrm>
          </p:grpSpPr>
          <p:grpSp>
            <p:nvGrpSpPr>
              <p:cNvPr id="43" name="Group 26"/>
              <p:cNvGrpSpPr/>
              <p:nvPr/>
            </p:nvGrpSpPr>
            <p:grpSpPr>
              <a:xfrm>
                <a:off x="2488545" y="1753691"/>
                <a:ext cx="2020824" cy="1970187"/>
                <a:chOff x="2955118" y="2260286"/>
                <a:chExt cx="2189227" cy="2626916"/>
              </a:xfrm>
            </p:grpSpPr>
            <p:sp>
              <p:nvSpPr>
                <p:cNvPr id="45" name="Oval 44"/>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6" name="Oval 45"/>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7" name="Oval 46"/>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8" name="Oval 47"/>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smtClean="0">
                      <a:solidFill>
                        <a:srgbClr val="000000"/>
                      </a:solidFill>
                      <a:latin typeface="Calibri" pitchFamily="34" charset="0"/>
                    </a:rPr>
                    <a:t>ISO 27000</a:t>
                  </a:r>
                </a:p>
                <a:p>
                  <a:pPr algn="ctr"/>
                  <a:r>
                    <a:rPr lang="en-GB" sz="1400" b="1" dirty="0" smtClean="0">
                      <a:solidFill>
                        <a:srgbClr val="000000"/>
                      </a:solidFill>
                      <a:latin typeface="Calibri" pitchFamily="34" charset="0"/>
                    </a:rPr>
                    <a:t>ITIL V2</a:t>
                  </a:r>
                </a:p>
                <a:p>
                  <a:pPr algn="ctr"/>
                  <a:r>
                    <a:rPr lang="en-GB" sz="1400" b="1" dirty="0" smtClean="0">
                      <a:solidFill>
                        <a:srgbClr val="000000"/>
                      </a:solidFill>
                      <a:latin typeface="Calibri" pitchFamily="34" charset="0"/>
                    </a:rPr>
                    <a:t>6 Sigma/LEAN</a:t>
                  </a:r>
                </a:p>
                <a:p>
                  <a:pPr algn="ctr"/>
                  <a:r>
                    <a:rPr lang="en-GB" sz="1400" b="1" dirty="0" smtClean="0">
                      <a:solidFill>
                        <a:srgbClr val="000000"/>
                      </a:solidFill>
                      <a:latin typeface="Calibri" pitchFamily="34" charset="0"/>
                    </a:rPr>
                    <a:t>ISO 9001:2000</a:t>
                  </a:r>
                </a:p>
                <a:p>
                  <a:pPr algn="ctr"/>
                  <a:r>
                    <a:rPr lang="en-GB" sz="1400" b="1" dirty="0" smtClean="0">
                      <a:solidFill>
                        <a:srgbClr val="000000"/>
                      </a:solidFill>
                      <a:latin typeface="Calibri" pitchFamily="34" charset="0"/>
                    </a:rPr>
                    <a:t>CMMi v1.2 Dev L5</a:t>
                  </a:r>
                </a:p>
                <a:p>
                  <a:pPr algn="ctr"/>
                  <a:r>
                    <a:rPr lang="en-GB" sz="1400" b="1" dirty="0" smtClean="0">
                      <a:solidFill>
                        <a:srgbClr val="000000"/>
                      </a:solidFill>
                      <a:latin typeface="Calibri" pitchFamily="34" charset="0"/>
                    </a:rPr>
                    <a:t>AS 9100</a:t>
                  </a:r>
                  <a:endParaRPr lang="en-GB" sz="1400" b="1" dirty="0">
                    <a:solidFill>
                      <a:srgbClr val="000000"/>
                    </a:solidFill>
                    <a:latin typeface="Calibri" pitchFamily="34" charset="0"/>
                  </a:endParaRPr>
                </a:p>
              </p:txBody>
            </p:sp>
          </p:grpSp>
          <p:sp>
            <p:nvSpPr>
              <p:cNvPr id="44" name="Rectangle 43"/>
              <p:cNvSpPr/>
              <p:nvPr/>
            </p:nvSpPr>
            <p:spPr>
              <a:xfrm>
                <a:off x="2910650" y="4047914"/>
                <a:ext cx="1176615" cy="289848"/>
              </a:xfrm>
              <a:prstGeom prst="rect">
                <a:avLst/>
              </a:prstGeom>
            </p:spPr>
            <p:txBody>
              <a:bodyPr wrap="none" lIns="77925" tIns="38963" rIns="77925" bIns="38963">
                <a:spAutoFit/>
              </a:bodyPr>
              <a:lstStyle/>
              <a:p>
                <a:pPr algn="ctr"/>
                <a:r>
                  <a:rPr lang="en-GB" sz="2000" b="1" dirty="0" smtClean="0">
                    <a:latin typeface="Calibri" pitchFamily="34" charset="0"/>
                  </a:rPr>
                  <a:t>2006-2010</a:t>
                </a:r>
                <a:endParaRPr lang="en-GB" sz="2000" b="1" dirty="0">
                  <a:latin typeface="Calibri" pitchFamily="34" charset="0"/>
                </a:endParaRPr>
              </a:p>
            </p:txBody>
          </p:sp>
        </p:grpSp>
        <p:grpSp>
          <p:nvGrpSpPr>
            <p:cNvPr id="14" name="Group 116"/>
            <p:cNvGrpSpPr/>
            <p:nvPr/>
          </p:nvGrpSpPr>
          <p:grpSpPr>
            <a:xfrm>
              <a:off x="5002355" y="2338255"/>
              <a:ext cx="2189226" cy="3445428"/>
              <a:chOff x="4617558" y="1753691"/>
              <a:chExt cx="2020824" cy="2584071"/>
            </a:xfrm>
          </p:grpSpPr>
          <p:grpSp>
            <p:nvGrpSpPr>
              <p:cNvPr id="34" name="Group 33"/>
              <p:cNvGrpSpPr/>
              <p:nvPr/>
            </p:nvGrpSpPr>
            <p:grpSpPr>
              <a:xfrm>
                <a:off x="4617558" y="1753691"/>
                <a:ext cx="2020824" cy="1970187"/>
                <a:chOff x="2955118" y="2260286"/>
                <a:chExt cx="2189227" cy="2626916"/>
              </a:xfrm>
            </p:grpSpPr>
            <p:sp>
              <p:nvSpPr>
                <p:cNvPr id="37" name="Oval 36"/>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38" name="Oval 37"/>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1" name="Oval 40"/>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42" name="Oval 41"/>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smtClean="0">
                      <a:solidFill>
                        <a:srgbClr val="000000"/>
                      </a:solidFill>
                      <a:latin typeface="Calibri" pitchFamily="34" charset="0"/>
                    </a:rPr>
                    <a:t>ITIL V3</a:t>
                  </a:r>
                </a:p>
                <a:p>
                  <a:pPr algn="ctr"/>
                  <a:r>
                    <a:rPr lang="en-GB" sz="1400" b="1" dirty="0" smtClean="0">
                      <a:solidFill>
                        <a:srgbClr val="000000"/>
                      </a:solidFill>
                      <a:latin typeface="Calibri" pitchFamily="34" charset="0"/>
                    </a:rPr>
                    <a:t>CMMI 1.3 ser L5</a:t>
                  </a:r>
                </a:p>
                <a:p>
                  <a:pPr algn="ctr"/>
                  <a:r>
                    <a:rPr lang="en-GB" sz="1400" b="1" dirty="0" smtClean="0">
                      <a:solidFill>
                        <a:srgbClr val="000000"/>
                      </a:solidFill>
                      <a:latin typeface="Calibri" pitchFamily="34" charset="0"/>
                    </a:rPr>
                    <a:t>ISO 20000 -2011</a:t>
                  </a:r>
                </a:p>
                <a:p>
                  <a:pPr algn="ctr"/>
                  <a:r>
                    <a:rPr lang="en-GB" sz="1400" b="1" dirty="0" smtClean="0">
                      <a:solidFill>
                        <a:srgbClr val="000000"/>
                      </a:solidFill>
                      <a:latin typeface="Calibri" pitchFamily="34" charset="0"/>
                    </a:rPr>
                    <a:t>ISO 9001:2008</a:t>
                  </a:r>
                </a:p>
                <a:p>
                  <a:pPr algn="ctr"/>
                  <a:r>
                    <a:rPr lang="en-GB" sz="1400" b="1" dirty="0" smtClean="0">
                      <a:solidFill>
                        <a:srgbClr val="000000"/>
                      </a:solidFill>
                      <a:latin typeface="Calibri" pitchFamily="34" charset="0"/>
                    </a:rPr>
                    <a:t>ISAE 3402 / SSAE 16</a:t>
                  </a:r>
                </a:p>
                <a:p>
                  <a:pPr algn="ctr"/>
                  <a:r>
                    <a:rPr lang="en-GB" sz="1400" b="1" dirty="0" smtClean="0">
                      <a:solidFill>
                        <a:srgbClr val="000000"/>
                      </a:solidFill>
                      <a:latin typeface="Calibri" pitchFamily="34" charset="0"/>
                    </a:rPr>
                    <a:t>AS9100</a:t>
                  </a:r>
                </a:p>
                <a:p>
                  <a:pPr algn="ctr"/>
                  <a:r>
                    <a:rPr lang="en-GB" sz="1400" b="1" dirty="0" smtClean="0">
                      <a:solidFill>
                        <a:srgbClr val="000000"/>
                      </a:solidFill>
                      <a:latin typeface="Calibri" pitchFamily="34" charset="0"/>
                    </a:rPr>
                    <a:t>TL 9000</a:t>
                  </a:r>
                  <a:endParaRPr lang="en-GB" sz="1400" b="1" dirty="0">
                    <a:solidFill>
                      <a:srgbClr val="000000"/>
                    </a:solidFill>
                    <a:latin typeface="Calibri" pitchFamily="34" charset="0"/>
                  </a:endParaRPr>
                </a:p>
              </p:txBody>
            </p:sp>
          </p:grpSp>
          <p:sp>
            <p:nvSpPr>
              <p:cNvPr id="35" name="Rectangle 34"/>
              <p:cNvSpPr/>
              <p:nvPr/>
            </p:nvSpPr>
            <p:spPr>
              <a:xfrm>
                <a:off x="5039664" y="4047914"/>
                <a:ext cx="1176615" cy="289848"/>
              </a:xfrm>
              <a:prstGeom prst="rect">
                <a:avLst/>
              </a:prstGeom>
            </p:spPr>
            <p:txBody>
              <a:bodyPr wrap="none" lIns="77925" tIns="38963" rIns="77925" bIns="38963">
                <a:spAutoFit/>
              </a:bodyPr>
              <a:lstStyle/>
              <a:p>
                <a:pPr algn="ctr"/>
                <a:r>
                  <a:rPr lang="en-GB" sz="2000" b="1" dirty="0" smtClean="0">
                    <a:latin typeface="Calibri" pitchFamily="34" charset="0"/>
                  </a:rPr>
                  <a:t>2011-2015</a:t>
                </a:r>
              </a:p>
            </p:txBody>
          </p:sp>
        </p:grpSp>
        <p:grpSp>
          <p:nvGrpSpPr>
            <p:cNvPr id="15" name="Group 111"/>
            <p:cNvGrpSpPr/>
            <p:nvPr/>
          </p:nvGrpSpPr>
          <p:grpSpPr>
            <a:xfrm>
              <a:off x="506508" y="4996944"/>
              <a:ext cx="1177732" cy="325181"/>
              <a:chOff x="467545" y="3747708"/>
              <a:chExt cx="1087137" cy="243886"/>
            </a:xfrm>
          </p:grpSpPr>
          <p:cxnSp>
            <p:nvCxnSpPr>
              <p:cNvPr id="32" name="Straight Connector 31"/>
              <p:cNvCxnSpPr>
                <a:endCxn id="33" idx="2"/>
              </p:cNvCxnSpPr>
              <p:nvPr/>
            </p:nvCxnSpPr>
            <p:spPr>
              <a:xfrm>
                <a:off x="467545" y="3865436"/>
                <a:ext cx="717661" cy="421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rot="10800000" flipH="1" flipV="1">
                <a:off x="11852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grpSp>
        <p:grpSp>
          <p:nvGrpSpPr>
            <p:cNvPr id="16" name="Group 118"/>
            <p:cNvGrpSpPr/>
            <p:nvPr/>
          </p:nvGrpSpPr>
          <p:grpSpPr>
            <a:xfrm>
              <a:off x="389493" y="2338255"/>
              <a:ext cx="2189226" cy="3358003"/>
              <a:chOff x="359532" y="1753691"/>
              <a:chExt cx="2020824" cy="2518502"/>
            </a:xfrm>
          </p:grpSpPr>
          <p:sp>
            <p:nvSpPr>
              <p:cNvPr id="26" name="Rectangle 25"/>
              <p:cNvSpPr/>
              <p:nvPr/>
            </p:nvSpPr>
            <p:spPr>
              <a:xfrm>
                <a:off x="781637" y="3982345"/>
                <a:ext cx="1176615" cy="289848"/>
              </a:xfrm>
              <a:prstGeom prst="rect">
                <a:avLst/>
              </a:prstGeom>
            </p:spPr>
            <p:txBody>
              <a:bodyPr wrap="none" lIns="77925" tIns="38963" rIns="77925" bIns="38963">
                <a:spAutoFit/>
              </a:bodyPr>
              <a:lstStyle/>
              <a:p>
                <a:pPr algn="ctr"/>
                <a:r>
                  <a:rPr lang="en-GB" sz="2000" b="1" dirty="0" smtClean="0">
                    <a:latin typeface="Calibri" pitchFamily="34" charset="0"/>
                  </a:rPr>
                  <a:t>2001-2005</a:t>
                </a:r>
              </a:p>
            </p:txBody>
          </p:sp>
          <p:grpSp>
            <p:nvGrpSpPr>
              <p:cNvPr id="27" name="Group 26"/>
              <p:cNvGrpSpPr/>
              <p:nvPr/>
            </p:nvGrpSpPr>
            <p:grpSpPr>
              <a:xfrm>
                <a:off x="359532" y="1753691"/>
                <a:ext cx="2020824" cy="1970187"/>
                <a:chOff x="2955118" y="2260286"/>
                <a:chExt cx="2189227" cy="2626916"/>
              </a:xfrm>
            </p:grpSpPr>
            <p:sp>
              <p:nvSpPr>
                <p:cNvPr id="28" name="Oval 27"/>
                <p:cNvSpPr/>
                <p:nvPr/>
              </p:nvSpPr>
              <p:spPr>
                <a:xfrm>
                  <a:off x="3959780" y="4725854"/>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29" name="Oval 28"/>
                <p:cNvSpPr/>
                <p:nvPr/>
              </p:nvSpPr>
              <p:spPr>
                <a:xfrm>
                  <a:off x="3959780" y="4491130"/>
                  <a:ext cx="179904" cy="1613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30" name="Oval 29"/>
                <p:cNvSpPr/>
                <p:nvPr/>
              </p:nvSpPr>
              <p:spPr>
                <a:xfrm>
                  <a:off x="3959780" y="4256406"/>
                  <a:ext cx="179904" cy="17990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Calibri"/>
                    <a:sym typeface="Calibri"/>
                  </a:endParaRPr>
                </a:p>
              </p:txBody>
            </p:sp>
            <p:sp>
              <p:nvSpPr>
                <p:cNvPr id="31" name="Oval 30"/>
                <p:cNvSpPr/>
                <p:nvPr/>
              </p:nvSpPr>
              <p:spPr>
                <a:xfrm>
                  <a:off x="2955118" y="2260286"/>
                  <a:ext cx="2189227" cy="1780032"/>
                </a:xfrm>
                <a:prstGeom prst="ellipse">
                  <a:avLst/>
                </a:prstGeom>
                <a:solidFill>
                  <a:schemeClr val="tx1">
                    <a:lumMod val="10000"/>
                    <a:lumOff val="90000"/>
                  </a:schemeClr>
                </a:solidFill>
                <a:ln>
                  <a:noFill/>
                </a:ln>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r>
                    <a:rPr lang="en-GB" sz="1400" b="1" dirty="0" smtClean="0">
                      <a:solidFill>
                        <a:srgbClr val="000000"/>
                      </a:solidFill>
                      <a:latin typeface="Calibri" pitchFamily="34" charset="0"/>
                    </a:rPr>
                    <a:t>ISO 9001: 2000</a:t>
                  </a:r>
                </a:p>
                <a:p>
                  <a:pPr algn="ctr"/>
                  <a:r>
                    <a:rPr lang="en-GB" sz="1400" b="1" dirty="0" smtClean="0">
                      <a:solidFill>
                        <a:srgbClr val="000000"/>
                      </a:solidFill>
                      <a:latin typeface="Calibri" pitchFamily="34" charset="0"/>
                    </a:rPr>
                    <a:t>SW-CMM L5</a:t>
                  </a:r>
                </a:p>
                <a:p>
                  <a:pPr algn="ctr"/>
                  <a:r>
                    <a:rPr lang="en-GB" sz="1400" b="1" dirty="0" smtClean="0">
                      <a:solidFill>
                        <a:srgbClr val="000000"/>
                      </a:solidFill>
                      <a:latin typeface="Calibri" pitchFamily="34" charset="0"/>
                    </a:rPr>
                    <a:t>BS 7799</a:t>
                  </a:r>
                </a:p>
                <a:p>
                  <a:pPr algn="ctr"/>
                  <a:r>
                    <a:rPr lang="en-GB" sz="1400" b="1" dirty="0" smtClean="0">
                      <a:solidFill>
                        <a:srgbClr val="000000"/>
                      </a:solidFill>
                      <a:latin typeface="Calibri" pitchFamily="34" charset="0"/>
                    </a:rPr>
                    <a:t>SAS 70</a:t>
                  </a:r>
                  <a:endParaRPr lang="en-GB" sz="1400" b="1" dirty="0">
                    <a:solidFill>
                      <a:srgbClr val="000000"/>
                    </a:solidFill>
                    <a:latin typeface="Calibri" pitchFamily="34" charset="0"/>
                  </a:endParaRPr>
                </a:p>
              </p:txBody>
            </p:sp>
          </p:grpSp>
        </p:grpSp>
        <p:grpSp>
          <p:nvGrpSpPr>
            <p:cNvPr id="17" name="Group 112"/>
            <p:cNvGrpSpPr/>
            <p:nvPr/>
          </p:nvGrpSpPr>
          <p:grpSpPr>
            <a:xfrm>
              <a:off x="1684239" y="4996944"/>
              <a:ext cx="2306432" cy="325181"/>
              <a:chOff x="1554682" y="3747708"/>
              <a:chExt cx="2129014" cy="243886"/>
            </a:xfrm>
          </p:grpSpPr>
          <p:sp>
            <p:nvSpPr>
              <p:cNvPr id="24" name="Oval 23"/>
              <p:cNvSpPr/>
              <p:nvPr/>
            </p:nvSpPr>
            <p:spPr>
              <a:xfrm rot="10800000" flipH="1" flipV="1">
                <a:off x="3314220"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5" name="Straight Connector 24"/>
              <p:cNvCxnSpPr>
                <a:stCxn id="33" idx="6"/>
                <a:endCxn id="24" idx="2"/>
              </p:cNvCxnSpPr>
              <p:nvPr/>
            </p:nvCxnSpPr>
            <p:spPr>
              <a:xfrm>
                <a:off x="1554682" y="3869651"/>
                <a:ext cx="1759538"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13"/>
            <p:cNvGrpSpPr/>
            <p:nvPr/>
          </p:nvGrpSpPr>
          <p:grpSpPr>
            <a:xfrm>
              <a:off x="3990671" y="4996944"/>
              <a:ext cx="2306431" cy="325181"/>
              <a:chOff x="3683696" y="3747708"/>
              <a:chExt cx="2129013" cy="243886"/>
            </a:xfrm>
          </p:grpSpPr>
          <p:sp>
            <p:nvSpPr>
              <p:cNvPr id="22" name="Oval 21"/>
              <p:cNvSpPr/>
              <p:nvPr/>
            </p:nvSpPr>
            <p:spPr>
              <a:xfrm rot="10800000" flipH="1" flipV="1">
                <a:off x="5443233"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3" name="Straight Connector 22"/>
              <p:cNvCxnSpPr>
                <a:stCxn id="24" idx="6"/>
                <a:endCxn id="22" idx="2"/>
              </p:cNvCxnSpPr>
              <p:nvPr/>
            </p:nvCxnSpPr>
            <p:spPr>
              <a:xfrm>
                <a:off x="3683696" y="3869651"/>
                <a:ext cx="175953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114"/>
            <p:cNvGrpSpPr/>
            <p:nvPr/>
          </p:nvGrpSpPr>
          <p:grpSpPr>
            <a:xfrm>
              <a:off x="6297102" y="4996944"/>
              <a:ext cx="2278546" cy="325181"/>
              <a:chOff x="5812709" y="3747708"/>
              <a:chExt cx="2103273" cy="243886"/>
            </a:xfrm>
          </p:grpSpPr>
          <p:sp>
            <p:nvSpPr>
              <p:cNvPr id="20" name="Oval 19"/>
              <p:cNvSpPr/>
              <p:nvPr/>
            </p:nvSpPr>
            <p:spPr>
              <a:xfrm rot="10800000" flipH="1" flipV="1">
                <a:off x="7546506" y="3747708"/>
                <a:ext cx="369476" cy="243886"/>
              </a:xfrm>
              <a:prstGeom prst="ellipse">
                <a:avLst/>
              </a:prstGeom>
              <a:solidFill>
                <a:schemeClr val="bg1"/>
              </a:solidFill>
              <a:ln w="19050">
                <a:solidFill>
                  <a:schemeClr val="tx1"/>
                </a:solidFill>
              </a:ln>
              <a:effectLst>
                <a:innerShdw blurRad="63500" dist="50800" dir="189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wrap="none" lIns="0" tIns="91440" rIns="0" rtlCol="0" anchor="ctr"/>
              <a:lstStyle/>
              <a:p>
                <a:pPr algn="ctr"/>
                <a:endParaRPr lang="en-GB" sz="1400" b="1" dirty="0">
                  <a:solidFill>
                    <a:srgbClr val="000000"/>
                  </a:solidFill>
                  <a:latin typeface="Calibri" pitchFamily="34" charset="0"/>
                </a:endParaRPr>
              </a:p>
            </p:txBody>
          </p:sp>
          <p:cxnSp>
            <p:nvCxnSpPr>
              <p:cNvPr id="21" name="Straight Connector 20"/>
              <p:cNvCxnSpPr>
                <a:stCxn id="22" idx="6"/>
                <a:endCxn id="20" idx="2"/>
              </p:cNvCxnSpPr>
              <p:nvPr/>
            </p:nvCxnSpPr>
            <p:spPr>
              <a:xfrm>
                <a:off x="5812709" y="3869651"/>
                <a:ext cx="173379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b="1" u="sng"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2560638"/>
            <a:ext cx="8915400" cy="778098"/>
          </a:xfrm>
          <a:solidFill>
            <a:srgbClr val="0033CC"/>
          </a:solidFill>
        </p:spPr>
        <p:style>
          <a:lnRef idx="2">
            <a:schemeClr val="accent2"/>
          </a:lnRef>
          <a:fillRef idx="1">
            <a:schemeClr val="lt1"/>
          </a:fillRef>
          <a:effectRef idx="0">
            <a:schemeClr val="accent2"/>
          </a:effectRef>
          <a:fontRef idx="minor">
            <a:schemeClr val="dk1"/>
          </a:fontRef>
        </p:style>
        <p:txBody>
          <a:bodyPr/>
          <a:lstStyle/>
          <a:p>
            <a:pPr marL="342900" indent="-342900" algn="ctr"/>
            <a:r>
              <a:rPr lang="en-US" dirty="0">
                <a:solidFill>
                  <a:schemeClr val="bg1"/>
                </a:solidFill>
              </a:rPr>
              <a:t>Introduction – Concepts  of Quality </a:t>
            </a:r>
          </a:p>
        </p:txBody>
      </p:sp>
    </p:spTree>
    <p:extLst>
      <p:ext uri="{BB962C8B-B14F-4D97-AF65-F5344CB8AC3E}">
        <p14:creationId xmlns:p14="http://schemas.microsoft.com/office/powerpoint/2010/main" val="276190850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Industry Standards</a:t>
            </a:r>
            <a:endParaRPr lang="en-US" sz="2400"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Rounded Rectangle 12"/>
          <p:cNvSpPr/>
          <p:nvPr/>
        </p:nvSpPr>
        <p:spPr>
          <a:xfrm>
            <a:off x="1409700" y="1155700"/>
            <a:ext cx="6985000" cy="5334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r>
              <a:rPr lang="en-US" sz="1300" dirty="0" smtClean="0">
                <a:solidFill>
                  <a:schemeClr val="tx2">
                    <a:lumMod val="50000"/>
                  </a:schemeClr>
                </a:solidFill>
              </a:rPr>
              <a:t>There are many industry standards / Models like </a:t>
            </a:r>
            <a:r>
              <a:rPr lang="fr-FR" sz="1300" dirty="0" smtClean="0">
                <a:solidFill>
                  <a:schemeClr val="tx2">
                    <a:lumMod val="50000"/>
                  </a:schemeClr>
                </a:solidFill>
              </a:rPr>
              <a:t>ISO, CMMI, ITIL, Six Sigma, Lean etc..</a:t>
            </a:r>
          </a:p>
        </p:txBody>
      </p:sp>
      <p:sp>
        <p:nvSpPr>
          <p:cNvPr id="14" name="Rounded Rectangle 13"/>
          <p:cNvSpPr/>
          <p:nvPr/>
        </p:nvSpPr>
        <p:spPr>
          <a:xfrm>
            <a:off x="4312920" y="1896342"/>
            <a:ext cx="5275580" cy="2370858"/>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300" dirty="0" smtClean="0">
                <a:solidFill>
                  <a:schemeClr val="tx2">
                    <a:lumMod val="50000"/>
                  </a:schemeClr>
                </a:solidFill>
              </a:rPr>
              <a:t>ISO</a:t>
            </a:r>
          </a:p>
          <a:p>
            <a:pPr marL="820738" lvl="1" indent="-342900"/>
            <a:r>
              <a:rPr lang="en-US" sz="1300" dirty="0" smtClean="0">
                <a:solidFill>
                  <a:schemeClr val="tx2">
                    <a:lumMod val="50000"/>
                  </a:schemeClr>
                </a:solidFill>
              </a:rPr>
              <a:t>The International Organization for Standardization (ISO) is an international standard-setting body composed of representatives from various national standards organizations.</a:t>
            </a:r>
          </a:p>
          <a:p>
            <a:pPr marL="820738" lvl="1" indent="-342900"/>
            <a:r>
              <a:rPr lang="en-US" sz="1300" dirty="0" smtClean="0">
                <a:solidFill>
                  <a:schemeClr val="tx2">
                    <a:lumMod val="50000"/>
                  </a:schemeClr>
                </a:solidFill>
              </a:rPr>
              <a:t>It is responsible for the ISO 9000, ISO 14000, ISO 27000, ISO 22000 and other international management standards.</a:t>
            </a:r>
            <a:endParaRPr lang="it-IT" sz="1300" dirty="0" smtClean="0">
              <a:solidFill>
                <a:schemeClr val="tx2">
                  <a:lumMod val="50000"/>
                </a:schemeClr>
              </a:solidFill>
            </a:endParaRPr>
          </a:p>
        </p:txBody>
      </p:sp>
      <p:pic>
        <p:nvPicPr>
          <p:cNvPr id="11" name="Picture 10" descr="ISO1.png"/>
          <p:cNvPicPr>
            <a:picLocks noChangeAspect="1"/>
          </p:cNvPicPr>
          <p:nvPr/>
        </p:nvPicPr>
        <p:blipFill>
          <a:blip r:embed="rId3" cstate="print"/>
          <a:stretch>
            <a:fillRect/>
          </a:stretch>
        </p:blipFill>
        <p:spPr>
          <a:xfrm>
            <a:off x="924560" y="2030731"/>
            <a:ext cx="2555240" cy="1995170"/>
          </a:xfrm>
          <a:prstGeom prst="rect">
            <a:avLst/>
          </a:prstGeom>
        </p:spPr>
      </p:pic>
      <p:sp>
        <p:nvSpPr>
          <p:cNvPr id="12" name="Rounded Rectangle 11"/>
          <p:cNvSpPr/>
          <p:nvPr/>
        </p:nvSpPr>
        <p:spPr>
          <a:xfrm>
            <a:off x="4368800" y="4605470"/>
            <a:ext cx="5245100" cy="142703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CMMI</a:t>
            </a:r>
          </a:p>
          <a:p>
            <a:pPr marL="820738" lvl="1" indent="-342900"/>
            <a:r>
              <a:rPr lang="en-US" sz="1400" dirty="0" smtClean="0">
                <a:solidFill>
                  <a:schemeClr val="tx2">
                    <a:lumMod val="50000"/>
                  </a:schemeClr>
                </a:solidFill>
              </a:rPr>
              <a:t>Capability Maturity Model integration (CMMI) is a process improvement  model introduced by Software Engineering Institute of Carnegie Mellon University.</a:t>
            </a:r>
            <a:endParaRPr lang="en-US" sz="1400" dirty="0" err="1" smtClean="0">
              <a:solidFill>
                <a:schemeClr val="tx2">
                  <a:lumMod val="50000"/>
                </a:schemeClr>
              </a:solidFill>
            </a:endParaRPr>
          </a:p>
        </p:txBody>
      </p:sp>
      <p:pic>
        <p:nvPicPr>
          <p:cNvPr id="19" name="Picture 18" descr="cmmi-mini-logo.png"/>
          <p:cNvPicPr>
            <a:picLocks noChangeAspect="1"/>
          </p:cNvPicPr>
          <p:nvPr/>
        </p:nvPicPr>
        <p:blipFill>
          <a:blip r:embed="rId4" cstate="print"/>
          <a:stretch>
            <a:fillRect/>
          </a:stretch>
        </p:blipFill>
        <p:spPr>
          <a:xfrm>
            <a:off x="1231900" y="4278630"/>
            <a:ext cx="1917700" cy="179305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linds(horizontal)">
                                      <p:cBhvr>
                                        <p:cTn id="12" dur="500"/>
                                        <p:tgtEl>
                                          <p:spTgt spid="11"/>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blinds(horizontal)">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blinds(horizontal)">
                                      <p:cBhvr>
                                        <p:cTn id="20" dur="500"/>
                                        <p:tgtEl>
                                          <p:spTgt spid="1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Industry Standards</a:t>
            </a:r>
            <a:endParaRPr lang="en-US" sz="2400" dirty="0">
              <a:solidFill>
                <a:srgbClr val="002060"/>
              </a:solidFill>
            </a:endParaRPr>
          </a:p>
        </p:txBody>
      </p:sp>
      <p:sp>
        <p:nvSpPr>
          <p:cNvPr id="149506" name="AutoShape 2" descr="Image result for IS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ounded Rectangle 15"/>
          <p:cNvSpPr/>
          <p:nvPr/>
        </p:nvSpPr>
        <p:spPr>
          <a:xfrm>
            <a:off x="4498340" y="1389380"/>
            <a:ext cx="5242560" cy="12014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ITIL</a:t>
            </a:r>
          </a:p>
          <a:p>
            <a:pPr marL="820738" lvl="1" indent="-342900"/>
            <a:r>
              <a:rPr lang="en-US" sz="1400" dirty="0" smtClean="0">
                <a:solidFill>
                  <a:schemeClr val="tx2">
                    <a:lumMod val="50000"/>
                  </a:schemeClr>
                </a:solidFill>
              </a:rPr>
              <a:t>Information Technology Infrastructure Library, is a set of practices for IT service management (ITSM) that focuses on aligning IT services with the needs of business.</a:t>
            </a:r>
            <a:endParaRPr lang="it-IT" sz="1400" dirty="0" smtClean="0">
              <a:solidFill>
                <a:schemeClr val="tx2">
                  <a:lumMod val="50000"/>
                </a:schemeClr>
              </a:solidFill>
            </a:endParaRPr>
          </a:p>
        </p:txBody>
      </p:sp>
      <p:sp>
        <p:nvSpPr>
          <p:cNvPr id="17" name="Rounded Rectangle 16"/>
          <p:cNvSpPr/>
          <p:nvPr/>
        </p:nvSpPr>
        <p:spPr>
          <a:xfrm>
            <a:off x="3479800" y="3410168"/>
            <a:ext cx="6096000" cy="111103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Six Sigma</a:t>
            </a:r>
          </a:p>
          <a:p>
            <a:pPr marL="820738" lvl="1" indent="-342900"/>
            <a:r>
              <a:rPr lang="en-US" sz="1400" dirty="0" smtClean="0">
                <a:solidFill>
                  <a:schemeClr val="tx2">
                    <a:lumMod val="50000"/>
                  </a:schemeClr>
                </a:solidFill>
              </a:rPr>
              <a:t>Six Sigma is a disciplined, data-driven approach and methodology for eliminating defects in any process – from manufacturing to transactional and from product to service.</a:t>
            </a:r>
            <a:endParaRPr lang="it-IT" sz="1400" dirty="0" smtClean="0">
              <a:solidFill>
                <a:schemeClr val="tx2">
                  <a:lumMod val="50000"/>
                </a:schemeClr>
              </a:solidFill>
            </a:endParaRPr>
          </a:p>
        </p:txBody>
      </p:sp>
      <p:sp>
        <p:nvSpPr>
          <p:cNvPr id="18" name="Rounded Rectangle 17"/>
          <p:cNvSpPr/>
          <p:nvPr/>
        </p:nvSpPr>
        <p:spPr>
          <a:xfrm>
            <a:off x="4485640" y="5041900"/>
            <a:ext cx="5267960" cy="1014422"/>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342900" indent="-342900">
              <a:buFont typeface="Wingdings" pitchFamily="2" charset="2"/>
              <a:buChar char="Ø"/>
            </a:pPr>
            <a:r>
              <a:rPr lang="it-IT" sz="1400" dirty="0" smtClean="0">
                <a:solidFill>
                  <a:schemeClr val="tx2">
                    <a:lumMod val="50000"/>
                  </a:schemeClr>
                </a:solidFill>
              </a:rPr>
              <a:t>Lean</a:t>
            </a:r>
            <a:endParaRPr lang="fr-FR" sz="1400" dirty="0" smtClean="0">
              <a:solidFill>
                <a:schemeClr val="tx2">
                  <a:lumMod val="50000"/>
                </a:schemeClr>
              </a:solidFill>
            </a:endParaRPr>
          </a:p>
          <a:p>
            <a:pPr lvl="1"/>
            <a:r>
              <a:rPr lang="en-US" sz="1400" dirty="0" smtClean="0">
                <a:solidFill>
                  <a:schemeClr val="tx2">
                    <a:lumMod val="50000"/>
                  </a:schemeClr>
                </a:solidFill>
              </a:rPr>
              <a:t>It is a systematic method for the elimination of waste ("</a:t>
            </a:r>
            <a:r>
              <a:rPr lang="en-US" sz="1400" dirty="0" err="1" smtClean="0">
                <a:solidFill>
                  <a:schemeClr val="tx2">
                    <a:lumMod val="50000"/>
                  </a:schemeClr>
                </a:solidFill>
              </a:rPr>
              <a:t>Muda</a:t>
            </a:r>
            <a:r>
              <a:rPr lang="en-US" sz="1400" dirty="0" smtClean="0">
                <a:solidFill>
                  <a:schemeClr val="tx2">
                    <a:lumMod val="50000"/>
                  </a:schemeClr>
                </a:solidFill>
              </a:rPr>
              <a:t>") within a Project life cycle.</a:t>
            </a:r>
          </a:p>
        </p:txBody>
      </p:sp>
      <p:pic>
        <p:nvPicPr>
          <p:cNvPr id="12" name="Picture 11" descr="Lean.png"/>
          <p:cNvPicPr>
            <a:picLocks noChangeAspect="1"/>
          </p:cNvPicPr>
          <p:nvPr/>
        </p:nvPicPr>
        <p:blipFill>
          <a:blip r:embed="rId3" cstate="print"/>
          <a:stretch>
            <a:fillRect/>
          </a:stretch>
        </p:blipFill>
        <p:spPr>
          <a:xfrm>
            <a:off x="2055956" y="4445000"/>
            <a:ext cx="2438320" cy="1904937"/>
          </a:xfrm>
          <a:prstGeom prst="rect">
            <a:avLst/>
          </a:prstGeom>
        </p:spPr>
      </p:pic>
      <p:pic>
        <p:nvPicPr>
          <p:cNvPr id="19" name="Picture 18" descr="Six-Sigma.jpg"/>
          <p:cNvPicPr>
            <a:picLocks noChangeAspect="1"/>
          </p:cNvPicPr>
          <p:nvPr/>
        </p:nvPicPr>
        <p:blipFill>
          <a:blip r:embed="rId4" cstate="print"/>
          <a:stretch>
            <a:fillRect/>
          </a:stretch>
        </p:blipFill>
        <p:spPr>
          <a:xfrm>
            <a:off x="139700" y="2854502"/>
            <a:ext cx="2260600" cy="2217509"/>
          </a:xfrm>
          <a:prstGeom prst="rect">
            <a:avLst/>
          </a:prstGeom>
        </p:spPr>
      </p:pic>
      <p:pic>
        <p:nvPicPr>
          <p:cNvPr id="21" name="Picture 20" descr="Life-Cycle-Phases-ITIL.png"/>
          <p:cNvPicPr>
            <a:picLocks noChangeAspect="1"/>
          </p:cNvPicPr>
          <p:nvPr/>
        </p:nvPicPr>
        <p:blipFill>
          <a:blip r:embed="rId5" cstate="print"/>
          <a:stretch>
            <a:fillRect/>
          </a:stretch>
        </p:blipFill>
        <p:spPr>
          <a:xfrm>
            <a:off x="1739900" y="1117600"/>
            <a:ext cx="2311400" cy="2311400"/>
          </a:xfrm>
          <a:prstGeom prst="rect">
            <a:avLst/>
          </a:prstGeom>
        </p:spPr>
      </p:pic>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linds(horizontal)">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linds(horizontal)">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linds(horizontal)">
                                      <p:cBhvr>
                                        <p:cTn id="23" dur="500"/>
                                        <p:tgtEl>
                                          <p:spTgt spid="1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linds(horizontal)">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b="1" u="sng"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Department</a:t>
            </a:r>
            <a:endParaRPr lang="en-US" sz="2400" dirty="0">
              <a:solidFill>
                <a:srgbClr val="002060"/>
              </a:solidFill>
            </a:endParaRPr>
          </a:p>
        </p:txBody>
      </p:sp>
      <p:sp>
        <p:nvSpPr>
          <p:cNvPr id="9" name="Rectangle 3"/>
          <p:cNvSpPr>
            <a:spLocks noChangeArrowheads="1"/>
          </p:cNvSpPr>
          <p:nvPr/>
        </p:nvSpPr>
        <p:spPr bwMode="auto">
          <a:xfrm>
            <a:off x="1893888" y="2493963"/>
            <a:ext cx="4900612" cy="415925"/>
          </a:xfrm>
          <a:prstGeom prst="rect">
            <a:avLst/>
          </a:prstGeom>
          <a:solidFill>
            <a:srgbClr val="A1BFDB"/>
          </a:solidFill>
          <a:ln w="12700">
            <a:solidFill>
              <a:schemeClr val="tx1"/>
            </a:solidFill>
            <a:prstDash val="dash"/>
            <a:miter lim="800000"/>
            <a:headEnd/>
            <a:tailEnd/>
          </a:ln>
        </p:spPr>
        <p:txBody>
          <a:bodyPr>
            <a:spAutoFit/>
          </a:bodyPr>
          <a:lstStyle/>
          <a:p>
            <a:pPr algn="ctr">
              <a:lnSpc>
                <a:spcPct val="85000"/>
              </a:lnSpc>
              <a:spcBef>
                <a:spcPct val="50000"/>
              </a:spcBef>
            </a:pPr>
            <a:r>
              <a:rPr lang="en-US" sz="2400" dirty="0">
                <a:latin typeface="Arial" charset="0"/>
              </a:rPr>
              <a:t>Quality Assurance Department</a:t>
            </a:r>
            <a:endParaRPr lang="en-US" sz="2400" dirty="0"/>
          </a:p>
        </p:txBody>
      </p:sp>
      <p:sp>
        <p:nvSpPr>
          <p:cNvPr id="11" name="Rectangle 4"/>
          <p:cNvSpPr>
            <a:spLocks noChangeArrowheads="1"/>
          </p:cNvSpPr>
          <p:nvPr/>
        </p:nvSpPr>
        <p:spPr bwMode="auto">
          <a:xfrm>
            <a:off x="1093788" y="3154363"/>
            <a:ext cx="6513512" cy="403225"/>
          </a:xfrm>
          <a:prstGeom prst="rect">
            <a:avLst/>
          </a:prstGeom>
          <a:noFill/>
          <a:ln w="12700">
            <a:noFill/>
            <a:prstDash val="dash"/>
            <a:miter lim="800000"/>
            <a:headEnd/>
            <a:tailEnd/>
          </a:ln>
        </p:spPr>
        <p:txBody>
          <a:bodyPr>
            <a:spAutoFit/>
          </a:bodyPr>
          <a:lstStyle/>
          <a:p>
            <a:pPr algn="ctr">
              <a:lnSpc>
                <a:spcPct val="85000"/>
              </a:lnSpc>
              <a:spcBef>
                <a:spcPct val="50000"/>
              </a:spcBef>
            </a:pPr>
            <a:r>
              <a:rPr lang="en-US" sz="2400" dirty="0">
                <a:latin typeface="Arial" charset="0"/>
              </a:rPr>
              <a:t>quality.assurance.in@capgemini.com</a:t>
            </a:r>
            <a:endParaRPr lang="en-US" sz="2400" dirty="0"/>
          </a:p>
        </p:txBody>
      </p:sp>
      <p:sp>
        <p:nvSpPr>
          <p:cNvPr id="12" name="Line 5"/>
          <p:cNvSpPr>
            <a:spLocks noChangeShapeType="1"/>
          </p:cNvSpPr>
          <p:nvPr/>
        </p:nvSpPr>
        <p:spPr bwMode="auto">
          <a:xfrm>
            <a:off x="2971800" y="3073400"/>
            <a:ext cx="2540000" cy="0"/>
          </a:xfrm>
          <a:prstGeom prst="line">
            <a:avLst/>
          </a:prstGeom>
          <a:noFill/>
          <a:ln w="19050">
            <a:solidFill>
              <a:schemeClr val="tx1"/>
            </a:solidFill>
            <a:round/>
            <a:headEnd/>
            <a:tailEnd/>
          </a:ln>
        </p:spPr>
        <p:txBody>
          <a:bodyPr lIns="540000" tIns="36000" rIns="72000" bIns="0" anchor="b"/>
          <a:lstStyle/>
          <a:p>
            <a:endParaRPr lang="en-US"/>
          </a:p>
        </p:txBody>
      </p:sp>
      <p:sp>
        <p:nvSpPr>
          <p:cNvPr id="13" name="Line 6"/>
          <p:cNvSpPr>
            <a:spLocks noChangeShapeType="1"/>
          </p:cNvSpPr>
          <p:nvPr/>
        </p:nvSpPr>
        <p:spPr bwMode="auto">
          <a:xfrm>
            <a:off x="3581400" y="2273300"/>
            <a:ext cx="1320800" cy="0"/>
          </a:xfrm>
          <a:prstGeom prst="line">
            <a:avLst/>
          </a:prstGeom>
          <a:noFill/>
          <a:ln w="19050">
            <a:solidFill>
              <a:schemeClr val="tx1"/>
            </a:solidFill>
            <a:round/>
            <a:headEnd/>
            <a:tailEnd/>
          </a:ln>
        </p:spPr>
        <p:txBody>
          <a:bodyPr lIns="540000" tIns="36000" rIns="72000" bIns="0" anchor="b"/>
          <a:lstStyle/>
          <a:p>
            <a:endParaRPr lang="en-US"/>
          </a:p>
        </p:txBody>
      </p:sp>
      <p:sp>
        <p:nvSpPr>
          <p:cNvPr id="14" name="Rectangle 7"/>
          <p:cNvSpPr>
            <a:spLocks noChangeArrowheads="1"/>
          </p:cNvSpPr>
          <p:nvPr/>
        </p:nvSpPr>
        <p:spPr bwMode="auto">
          <a:xfrm>
            <a:off x="458788" y="4335463"/>
            <a:ext cx="8139112" cy="584775"/>
          </a:xfrm>
          <a:prstGeom prst="rect">
            <a:avLst/>
          </a:prstGeom>
          <a:noFill/>
          <a:ln w="12700">
            <a:noFill/>
            <a:prstDash val="dash"/>
            <a:miter lim="800000"/>
            <a:headEnd/>
            <a:tailEnd/>
          </a:ln>
        </p:spPr>
        <p:txBody>
          <a:bodyPr>
            <a:spAutoFit/>
          </a:bodyPr>
          <a:lstStyle/>
          <a:p>
            <a:pPr eaLnBrk="1" hangingPunct="1"/>
            <a:r>
              <a:rPr lang="en-US" sz="1600" b="0" i="0" dirty="0">
                <a:latin typeface="Arial" charset="0"/>
              </a:rPr>
              <a:t>Implementation of Quality Assurance standard in all spheres of activity throughout the organization viz. projects and functions.</a:t>
            </a:r>
          </a:p>
        </p:txBody>
      </p:sp>
      <p:sp>
        <p:nvSpPr>
          <p:cNvPr id="15" name="Rectangle 8"/>
          <p:cNvSpPr>
            <a:spLocks noChangeArrowheads="1"/>
          </p:cNvSpPr>
          <p:nvPr/>
        </p:nvSpPr>
        <p:spPr bwMode="auto">
          <a:xfrm>
            <a:off x="446088" y="3954463"/>
            <a:ext cx="4786312" cy="338554"/>
          </a:xfrm>
          <a:prstGeom prst="rect">
            <a:avLst/>
          </a:prstGeom>
          <a:noFill/>
          <a:ln w="12700">
            <a:noFill/>
            <a:prstDash val="dash"/>
            <a:miter lim="800000"/>
            <a:headEnd/>
            <a:tailEnd/>
          </a:ln>
        </p:spPr>
        <p:txBody>
          <a:bodyPr>
            <a:spAutoFit/>
          </a:bodyPr>
          <a:lstStyle/>
          <a:p>
            <a:pPr eaLnBrk="1" hangingPunct="1"/>
            <a:r>
              <a:rPr lang="en-US" sz="1600" dirty="0">
                <a:latin typeface="Arial" charset="0"/>
              </a:rPr>
              <a:t>We </a:t>
            </a:r>
            <a:r>
              <a:rPr lang="en-US" sz="1600" dirty="0" smtClean="0">
                <a:latin typeface="Arial" charset="0"/>
              </a:rPr>
              <a:t>facilitate &amp; Provide on-going support:</a:t>
            </a:r>
            <a:endParaRPr lang="en-US" sz="1600" dirty="0">
              <a:latin typeface="Arial" charset="0"/>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Org Structure</a:t>
            </a:r>
            <a:endParaRPr lang="en-US" sz="2400" dirty="0">
              <a:solidFill>
                <a:srgbClr val="002060"/>
              </a:solidFill>
            </a:endParaRPr>
          </a:p>
        </p:txBody>
      </p:sp>
      <p:graphicFrame>
        <p:nvGraphicFramePr>
          <p:cNvPr id="81" name="Content Placeholder 3"/>
          <p:cNvGraphicFramePr>
            <a:graphicFrameLocks noGrp="1"/>
          </p:cNvGraphicFramePr>
          <p:nvPr>
            <p:ph idx="1"/>
            <p:extLst>
              <p:ext uri="{D42A27DB-BD31-4B8C-83A1-F6EECF244321}">
                <p14:modId xmlns:p14="http://schemas.microsoft.com/office/powerpoint/2010/main" val="3378673774"/>
              </p:ext>
            </p:extLst>
          </p:nvPr>
        </p:nvGraphicFramePr>
        <p:xfrm>
          <a:off x="97473" y="1495425"/>
          <a:ext cx="9223375" cy="447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Facilitation and Ongoing Support</a:t>
            </a:r>
            <a:endParaRPr lang="en-US" sz="2400" dirty="0">
              <a:solidFill>
                <a:srgbClr val="002060"/>
              </a:solidFill>
            </a:endParaRPr>
          </a:p>
        </p:txBody>
      </p:sp>
      <p:sp>
        <p:nvSpPr>
          <p:cNvPr id="48" name="Rectangle 3"/>
          <p:cNvSpPr>
            <a:spLocks noChangeArrowheads="1"/>
          </p:cNvSpPr>
          <p:nvPr/>
        </p:nvSpPr>
        <p:spPr bwMode="auto">
          <a:xfrm>
            <a:off x="747469" y="1182682"/>
            <a:ext cx="510909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Calibri" pitchFamily="34" charset="0"/>
              </a:rPr>
              <a:t>Multiple suggestions will lead to confusion !!</a:t>
            </a:r>
            <a:endParaRPr kumimoji="0" lang="en-US" sz="3200" b="1" i="0" u="none" strike="noStrike" cap="none" normalizeH="0" baseline="0" dirty="0" smtClean="0">
              <a:ln>
                <a:noFill/>
              </a:ln>
              <a:solidFill>
                <a:schemeClr val="tx1"/>
              </a:solidFill>
              <a:effectLst/>
              <a:latin typeface="Arial" pitchFamily="34" charset="0"/>
            </a:endParaRPr>
          </a:p>
        </p:txBody>
      </p:sp>
      <p:pic>
        <p:nvPicPr>
          <p:cNvPr id="49" name="Picture 2" descr="http://www.mindgraphic.eu/BILDER/Startseite/Graphic-Facilitation-1.jpg"/>
          <p:cNvPicPr>
            <a:picLocks noChangeAspect="1" noChangeArrowheads="1"/>
          </p:cNvPicPr>
          <p:nvPr/>
        </p:nvPicPr>
        <p:blipFill>
          <a:blip r:embed="rId3" cstate="print"/>
          <a:srcRect/>
          <a:stretch>
            <a:fillRect/>
          </a:stretch>
        </p:blipFill>
        <p:spPr bwMode="auto">
          <a:xfrm>
            <a:off x="6329193" y="1080284"/>
            <a:ext cx="3343275" cy="3343275"/>
          </a:xfrm>
          <a:prstGeom prst="rect">
            <a:avLst/>
          </a:prstGeom>
          <a:noFill/>
        </p:spPr>
      </p:pic>
      <p:sp>
        <p:nvSpPr>
          <p:cNvPr id="50" name="Rectangle 3"/>
          <p:cNvSpPr>
            <a:spLocks noChangeArrowheads="1"/>
          </p:cNvSpPr>
          <p:nvPr/>
        </p:nvSpPr>
        <p:spPr bwMode="auto">
          <a:xfrm>
            <a:off x="2079701" y="4496515"/>
            <a:ext cx="5938485"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Calibri" pitchFamily="34" charset="0"/>
              </a:rPr>
              <a:t>We help you follow the right steps at the right time !!</a:t>
            </a:r>
            <a:endParaRPr kumimoji="0" lang="en-US" sz="3200" b="1" i="0" u="none" strike="noStrike" cap="none" normalizeH="0" baseline="0" dirty="0" smtClean="0">
              <a:ln>
                <a:noFill/>
              </a:ln>
              <a:solidFill>
                <a:schemeClr val="tx1"/>
              </a:solidFill>
              <a:effectLst/>
              <a:latin typeface="Arial" pitchFamily="34" charset="0"/>
            </a:endParaRPr>
          </a:p>
        </p:txBody>
      </p:sp>
      <p:pic>
        <p:nvPicPr>
          <p:cNvPr id="51" name="Picture 50" descr="1.JPG"/>
          <p:cNvPicPr>
            <a:picLocks noChangeAspect="1"/>
          </p:cNvPicPr>
          <p:nvPr/>
        </p:nvPicPr>
        <p:blipFill>
          <a:blip r:embed="rId4" cstate="print"/>
          <a:stretch>
            <a:fillRect/>
          </a:stretch>
        </p:blipFill>
        <p:spPr>
          <a:xfrm>
            <a:off x="810547" y="1685113"/>
            <a:ext cx="4691093" cy="2604235"/>
          </a:xfrm>
          <a:prstGeom prst="rect">
            <a:avLst/>
          </a:prstGeom>
        </p:spPr>
      </p:pic>
      <p:sp>
        <p:nvSpPr>
          <p:cNvPr id="10" name="Rounded Rectangle 9"/>
          <p:cNvSpPr/>
          <p:nvPr/>
        </p:nvSpPr>
        <p:spPr>
          <a:xfrm>
            <a:off x="340360" y="4876800"/>
            <a:ext cx="397256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During Facilitation : </a:t>
            </a:r>
          </a:p>
          <a:p>
            <a:pPr lvl="1">
              <a:buFont typeface="Wingdings" pitchFamily="2" charset="2"/>
              <a:buChar char="ü"/>
            </a:pPr>
            <a:r>
              <a:rPr lang="en-US" sz="1400" dirty="0" smtClean="0">
                <a:solidFill>
                  <a:schemeClr val="tx2">
                    <a:lumMod val="50000"/>
                  </a:schemeClr>
                </a:solidFill>
              </a:rPr>
              <a:t> Introducing to QMS</a:t>
            </a:r>
          </a:p>
          <a:p>
            <a:pPr lvl="1">
              <a:buFont typeface="Wingdings" pitchFamily="2" charset="2"/>
              <a:buChar char="ü"/>
            </a:pPr>
            <a:r>
              <a:rPr lang="en-US" sz="1400" dirty="0" smtClean="0">
                <a:solidFill>
                  <a:schemeClr val="tx2">
                    <a:lumMod val="50000"/>
                  </a:schemeClr>
                </a:solidFill>
              </a:rPr>
              <a:t>Contract reviews</a:t>
            </a:r>
          </a:p>
          <a:p>
            <a:pPr lvl="1">
              <a:buFont typeface="Wingdings" pitchFamily="2" charset="2"/>
              <a:buChar char="ü"/>
            </a:pPr>
            <a:r>
              <a:rPr lang="en-US" sz="1400" dirty="0" smtClean="0">
                <a:solidFill>
                  <a:schemeClr val="tx2">
                    <a:lumMod val="50000"/>
                  </a:schemeClr>
                </a:solidFill>
              </a:rPr>
              <a:t>Sharing best practices </a:t>
            </a:r>
          </a:p>
          <a:p>
            <a:pPr lvl="1">
              <a:buFont typeface="Wingdings" pitchFamily="2" charset="2"/>
              <a:buChar char="ü"/>
            </a:pPr>
            <a:r>
              <a:rPr lang="en-US" sz="1400" dirty="0" smtClean="0">
                <a:solidFill>
                  <a:schemeClr val="tx2">
                    <a:lumMod val="50000"/>
                  </a:schemeClr>
                </a:solidFill>
              </a:rPr>
              <a:t>Assistance in process tailoring</a:t>
            </a:r>
          </a:p>
          <a:p>
            <a:pPr lvl="1">
              <a:buFont typeface="Wingdings" pitchFamily="2" charset="2"/>
              <a:buChar char="ü"/>
            </a:pPr>
            <a:r>
              <a:rPr lang="en-US" sz="1400" dirty="0" smtClean="0">
                <a:solidFill>
                  <a:schemeClr val="tx2">
                    <a:lumMod val="50000"/>
                  </a:schemeClr>
                </a:solidFill>
              </a:rPr>
              <a:t>Metrics configurations in tools</a:t>
            </a:r>
          </a:p>
          <a:p>
            <a:pPr lvl="1">
              <a:buFont typeface="Wingdings" pitchFamily="2" charset="2"/>
              <a:buChar char="ü"/>
            </a:pPr>
            <a:r>
              <a:rPr lang="en-US" sz="1400" dirty="0" smtClean="0">
                <a:solidFill>
                  <a:schemeClr val="tx2">
                    <a:lumMod val="50000"/>
                  </a:schemeClr>
                </a:solidFill>
              </a:rPr>
              <a:t>Etc…</a:t>
            </a:r>
          </a:p>
        </p:txBody>
      </p:sp>
      <p:sp>
        <p:nvSpPr>
          <p:cNvPr id="11" name="Rounded Rectangle 10"/>
          <p:cNvSpPr/>
          <p:nvPr/>
        </p:nvSpPr>
        <p:spPr>
          <a:xfrm>
            <a:off x="5262880" y="4861560"/>
            <a:ext cx="4246880" cy="141732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During On-going Support : </a:t>
            </a:r>
          </a:p>
          <a:p>
            <a:pPr lvl="1">
              <a:buFont typeface="Wingdings" pitchFamily="2" charset="2"/>
              <a:buChar char="ü"/>
            </a:pPr>
            <a:r>
              <a:rPr lang="en-US" sz="1400" dirty="0" smtClean="0">
                <a:solidFill>
                  <a:schemeClr val="tx2">
                    <a:lumMod val="50000"/>
                  </a:schemeClr>
                </a:solidFill>
              </a:rPr>
              <a:t>Connect with PQL for on-going activities </a:t>
            </a:r>
          </a:p>
          <a:p>
            <a:pPr lvl="1">
              <a:buFont typeface="Wingdings" pitchFamily="2" charset="2"/>
              <a:buChar char="ü"/>
            </a:pPr>
            <a:r>
              <a:rPr lang="en-US" sz="1400" dirty="0" smtClean="0">
                <a:solidFill>
                  <a:schemeClr val="tx2">
                    <a:lumMod val="50000"/>
                  </a:schemeClr>
                </a:solidFill>
              </a:rPr>
              <a:t>Monthly project reviews</a:t>
            </a:r>
          </a:p>
          <a:p>
            <a:pPr lvl="1">
              <a:buFont typeface="Wingdings" pitchFamily="2" charset="2"/>
              <a:buChar char="ü"/>
            </a:pPr>
            <a:r>
              <a:rPr lang="en-US" sz="1400" dirty="0" smtClean="0">
                <a:solidFill>
                  <a:schemeClr val="tx2">
                    <a:lumMod val="50000"/>
                  </a:schemeClr>
                </a:solidFill>
              </a:rPr>
              <a:t> Support in process improvements</a:t>
            </a:r>
          </a:p>
          <a:p>
            <a:pPr lvl="1">
              <a:buFont typeface="Wingdings" pitchFamily="2" charset="2"/>
              <a:buChar char="ü"/>
            </a:pPr>
            <a:r>
              <a:rPr lang="en-US" sz="1400" dirty="0" smtClean="0">
                <a:solidFill>
                  <a:schemeClr val="tx2">
                    <a:lumMod val="50000"/>
                  </a:schemeClr>
                </a:solidFill>
              </a:rPr>
              <a:t>Metrics reviews</a:t>
            </a:r>
          </a:p>
          <a:p>
            <a:pPr lvl="1">
              <a:buFont typeface="Wingdings" pitchFamily="2" charset="2"/>
              <a:buChar char="ü"/>
            </a:pPr>
            <a:r>
              <a:rPr lang="en-US" sz="1400" dirty="0" smtClean="0">
                <a:solidFill>
                  <a:schemeClr val="tx2">
                    <a:lumMod val="50000"/>
                  </a:schemeClr>
                </a:solidFill>
              </a:rPr>
              <a:t>Etc..</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Audit</a:t>
            </a:r>
            <a:endParaRPr lang="en-US" sz="2400" dirty="0">
              <a:solidFill>
                <a:srgbClr val="002060"/>
              </a:solidFill>
            </a:endParaRPr>
          </a:p>
        </p:txBody>
      </p:sp>
      <p:sp>
        <p:nvSpPr>
          <p:cNvPr id="48" name="Rectangle 1"/>
          <p:cNvSpPr>
            <a:spLocks noChangeArrowheads="1"/>
          </p:cNvSpPr>
          <p:nvPr/>
        </p:nvSpPr>
        <p:spPr bwMode="auto">
          <a:xfrm>
            <a:off x="267506" y="2524879"/>
            <a:ext cx="430887" cy="1986161"/>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1"/>
                </a:solidFill>
                <a:effectLst/>
                <a:latin typeface="Arial" pitchFamily="34" charset="0"/>
                <a:ea typeface="Calibri" pitchFamily="34" charset="0"/>
              </a:rPr>
              <a:t>Before audit </a:t>
            </a:r>
            <a:endParaRPr kumimoji="0" lang="en-US" b="1" i="0" u="none" strike="noStrike" cap="none" normalizeH="0" baseline="0" dirty="0" smtClean="0">
              <a:ln>
                <a:noFill/>
              </a:ln>
              <a:solidFill>
                <a:schemeClr val="tx1"/>
              </a:solidFill>
              <a:effectLst/>
              <a:latin typeface="Arial" pitchFamily="34" charset="0"/>
            </a:endParaRPr>
          </a:p>
        </p:txBody>
      </p:sp>
      <p:sp>
        <p:nvSpPr>
          <p:cNvPr id="49" name="Rectangle 1"/>
          <p:cNvSpPr>
            <a:spLocks noChangeArrowheads="1"/>
          </p:cNvSpPr>
          <p:nvPr/>
        </p:nvSpPr>
        <p:spPr bwMode="auto">
          <a:xfrm>
            <a:off x="9106707" y="2578271"/>
            <a:ext cx="430887" cy="1917529"/>
          </a:xfrm>
          <a:prstGeom prst="rect">
            <a:avLst/>
          </a:prstGeom>
          <a:noFill/>
          <a:ln w="9525">
            <a:noFill/>
            <a:miter lim="800000"/>
            <a:headEnd/>
            <a:tailEnd/>
          </a:ln>
          <a:effectLst/>
        </p:spPr>
        <p:txBody>
          <a:bodyPr vert="vert"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1"/>
                </a:solidFill>
                <a:effectLst/>
                <a:latin typeface="Arial" pitchFamily="34" charset="0"/>
                <a:ea typeface="Calibri" pitchFamily="34" charset="0"/>
              </a:rPr>
              <a:t>Audit Day</a:t>
            </a:r>
            <a:endParaRPr kumimoji="0" lang="en-US" b="1" i="0" u="none" strike="noStrike" cap="none" normalizeH="0" baseline="0" dirty="0" smtClean="0">
              <a:ln>
                <a:noFill/>
              </a:ln>
              <a:solidFill>
                <a:schemeClr val="tx1"/>
              </a:solidFill>
              <a:effectLst/>
              <a:latin typeface="Arial" pitchFamily="34" charset="0"/>
            </a:endParaRPr>
          </a:p>
        </p:txBody>
      </p:sp>
      <p:pic>
        <p:nvPicPr>
          <p:cNvPr id="50" name="Picture 2" descr="ÐžÐ¿Ð¸Ñ� : Description :&#10;            Description :&#10;            cid:6__=4EBBF3CDDFD110998f9e8a93df93869@mpsa.com"/>
          <p:cNvPicPr>
            <a:picLocks noChangeAspect="1" noChangeArrowheads="1"/>
          </p:cNvPicPr>
          <p:nvPr/>
        </p:nvPicPr>
        <p:blipFill>
          <a:blip r:embed="rId3" cstate="print"/>
          <a:srcRect/>
          <a:stretch>
            <a:fillRect/>
          </a:stretch>
        </p:blipFill>
        <p:spPr bwMode="auto">
          <a:xfrm>
            <a:off x="839964" y="2057400"/>
            <a:ext cx="8010569" cy="4114444"/>
          </a:xfrm>
          <a:prstGeom prst="rect">
            <a:avLst/>
          </a:prstGeom>
          <a:noFill/>
          <a:ln w="9525">
            <a:noFill/>
            <a:miter lim="800000"/>
            <a:headEnd/>
            <a:tailEnd/>
          </a:ln>
        </p:spPr>
      </p:pic>
      <p:sp>
        <p:nvSpPr>
          <p:cNvPr id="9" name="Rounded Rectangle 8"/>
          <p:cNvSpPr/>
          <p:nvPr/>
        </p:nvSpPr>
        <p:spPr>
          <a:xfrm>
            <a:off x="812800" y="1219200"/>
            <a:ext cx="805688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Team conducts the Audits to ensure the project compliance to the organizational set policies and processes.</a:t>
            </a:r>
            <a:endParaRPr lang="en-US" sz="1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Risk Management</a:t>
            </a:r>
            <a:endParaRPr lang="en-US" sz="2400" dirty="0">
              <a:solidFill>
                <a:srgbClr val="002060"/>
              </a:solidFill>
            </a:endParaRPr>
          </a:p>
        </p:txBody>
      </p:sp>
      <p:sp>
        <p:nvSpPr>
          <p:cNvPr id="4" name="Rectangle 3"/>
          <p:cNvSpPr/>
          <p:nvPr/>
        </p:nvSpPr>
        <p:spPr>
          <a:xfrm>
            <a:off x="578726" y="1371600"/>
            <a:ext cx="8671954" cy="384721"/>
          </a:xfrm>
          <a:prstGeom prst="rect">
            <a:avLst/>
          </a:prstGeom>
        </p:spPr>
        <p:txBody>
          <a:bodyPr wrap="square">
            <a:spAutoFit/>
          </a:bodyPr>
          <a:lstStyle/>
          <a:p>
            <a:r>
              <a:rPr lang="en-US" dirty="0" smtClean="0"/>
              <a:t>We’ll be fooling ourselves if we are expecting a clear road ahead of us !!</a:t>
            </a:r>
          </a:p>
        </p:txBody>
      </p:sp>
      <p:pic>
        <p:nvPicPr>
          <p:cNvPr id="5" name="Picture 3" descr="http://jvsc.jst.go.jp/find/sports_e/s02_sld/d2_mech/images/m40_bnn.gif"/>
          <p:cNvPicPr>
            <a:picLocks noChangeAspect="1" noChangeArrowheads="1"/>
          </p:cNvPicPr>
          <p:nvPr/>
        </p:nvPicPr>
        <p:blipFill>
          <a:blip r:embed="rId3" cstate="print"/>
          <a:srcRect/>
          <a:stretch>
            <a:fillRect/>
          </a:stretch>
        </p:blipFill>
        <p:spPr bwMode="auto">
          <a:xfrm>
            <a:off x="786366" y="2052795"/>
            <a:ext cx="3794406" cy="2863703"/>
          </a:xfrm>
          <a:prstGeom prst="rect">
            <a:avLst/>
          </a:prstGeom>
          <a:noFill/>
          <a:ln w="9525">
            <a:noFill/>
            <a:miter lim="800000"/>
            <a:headEnd/>
            <a:tailEnd/>
          </a:ln>
        </p:spPr>
      </p:pic>
      <p:pic>
        <p:nvPicPr>
          <p:cNvPr id="7" name="Picture 1" descr="image014"/>
          <p:cNvPicPr>
            <a:picLocks noChangeAspect="1" noChangeArrowheads="1"/>
          </p:cNvPicPr>
          <p:nvPr/>
        </p:nvPicPr>
        <p:blipFill>
          <a:blip r:embed="rId4" cstate="print"/>
          <a:srcRect/>
          <a:stretch>
            <a:fillRect/>
          </a:stretch>
        </p:blipFill>
        <p:spPr bwMode="auto">
          <a:xfrm>
            <a:off x="5719893" y="1939885"/>
            <a:ext cx="3867150" cy="3543300"/>
          </a:xfrm>
          <a:prstGeom prst="rect">
            <a:avLst/>
          </a:prstGeom>
          <a:noFill/>
          <a:ln w="9525">
            <a:noFill/>
            <a:miter lim="800000"/>
            <a:headEnd/>
            <a:tailEnd/>
          </a:ln>
        </p:spPr>
      </p:pic>
      <p:sp>
        <p:nvSpPr>
          <p:cNvPr id="9" name="Rounded Rectangle 8"/>
          <p:cNvSpPr/>
          <p:nvPr/>
        </p:nvSpPr>
        <p:spPr>
          <a:xfrm>
            <a:off x="1010920" y="5608320"/>
            <a:ext cx="6441440" cy="6705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Team  helps projects in identifying and mitigating the project risks.</a:t>
            </a:r>
            <a:endParaRPr lang="en-US" sz="1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Metrics</a:t>
            </a:r>
            <a:endParaRPr lang="en-US" sz="2400" dirty="0">
              <a:solidFill>
                <a:srgbClr val="002060"/>
              </a:solidFill>
            </a:endParaRPr>
          </a:p>
        </p:txBody>
      </p:sp>
      <p:sp>
        <p:nvSpPr>
          <p:cNvPr id="4" name="Content Placeholder 2"/>
          <p:cNvSpPr>
            <a:spLocks noGrp="1"/>
          </p:cNvSpPr>
          <p:nvPr>
            <p:ph idx="1"/>
          </p:nvPr>
        </p:nvSpPr>
        <p:spPr>
          <a:xfrm>
            <a:off x="-1" y="1280504"/>
            <a:ext cx="9901043" cy="1157896"/>
          </a:xfrm>
        </p:spPr>
        <p:txBody>
          <a:bodyPr/>
          <a:lstStyle/>
          <a:p>
            <a:pPr>
              <a:buNone/>
            </a:pPr>
            <a:r>
              <a:rPr lang="en-US" sz="4800" b="1" dirty="0" smtClean="0"/>
              <a:t>  </a:t>
            </a:r>
            <a:r>
              <a:rPr lang="en-US" sz="1600" i="1" dirty="0" smtClean="0"/>
              <a:t>Less numbers and proactive metrics are only to save  business risk. Expectation of quality models mostly  contradict on this</a:t>
            </a:r>
          </a:p>
        </p:txBody>
      </p:sp>
      <p:pic>
        <p:nvPicPr>
          <p:cNvPr id="5" name="Picture 2"/>
          <p:cNvPicPr>
            <a:picLocks noChangeAspect="1" noChangeArrowheads="1"/>
          </p:cNvPicPr>
          <p:nvPr/>
        </p:nvPicPr>
        <p:blipFill>
          <a:blip r:embed="rId3" cstate="print"/>
          <a:srcRect/>
          <a:stretch>
            <a:fillRect/>
          </a:stretch>
        </p:blipFill>
        <p:spPr bwMode="auto">
          <a:xfrm>
            <a:off x="3382526" y="2090329"/>
            <a:ext cx="4035454" cy="3380831"/>
          </a:xfrm>
          <a:prstGeom prst="rect">
            <a:avLst/>
          </a:prstGeom>
          <a:noFill/>
          <a:ln w="9525">
            <a:noFill/>
            <a:miter lim="800000"/>
            <a:headEnd/>
            <a:tailEnd/>
          </a:ln>
        </p:spPr>
      </p:pic>
      <p:sp>
        <p:nvSpPr>
          <p:cNvPr id="7" name="Rounded Rectangle 6"/>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smtClean="0">
                <a:solidFill>
                  <a:schemeClr val="tx2">
                    <a:lumMod val="50000"/>
                  </a:schemeClr>
                </a:solidFill>
              </a:rPr>
              <a:t>Quality Team  has set up a SQA   team which will helps review and approval of the metrics for the projects and metrics council team establish baselines at an organizational level.</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QA Services - Six Sigma</a:t>
            </a:r>
            <a:endParaRPr lang="en-US" sz="2400" dirty="0">
              <a:solidFill>
                <a:srgbClr val="002060"/>
              </a:solidFill>
            </a:endParaRPr>
          </a:p>
        </p:txBody>
      </p:sp>
      <p:sp>
        <p:nvSpPr>
          <p:cNvPr id="7" name="Text Box 5"/>
          <p:cNvSpPr txBox="1">
            <a:spLocks noChangeArrowheads="1"/>
          </p:cNvSpPr>
          <p:nvPr/>
        </p:nvSpPr>
        <p:spPr bwMode="auto">
          <a:xfrm>
            <a:off x="1127761" y="4419600"/>
            <a:ext cx="6918960" cy="954107"/>
          </a:xfrm>
          <a:prstGeom prst="rect">
            <a:avLst/>
          </a:prstGeom>
        </p:spPr>
        <p:txBody>
          <a:bodyPr wrap="square">
            <a:spAutoFit/>
          </a:bodyPr>
          <a:lstStyle/>
          <a:p>
            <a:pPr>
              <a:spcBef>
                <a:spcPct val="50000"/>
              </a:spcBef>
            </a:pPr>
            <a:r>
              <a:rPr lang="en-US" sz="2800" dirty="0" smtClean="0"/>
              <a:t>Is there really a big difference between 99.0% &amp; 99.9996%?</a:t>
            </a:r>
          </a:p>
        </p:txBody>
      </p:sp>
      <p:pic>
        <p:nvPicPr>
          <p:cNvPr id="9" name="Picture 8" descr="2.JPG"/>
          <p:cNvPicPr>
            <a:picLocks noChangeAspect="1"/>
          </p:cNvPicPr>
          <p:nvPr/>
        </p:nvPicPr>
        <p:blipFill>
          <a:blip r:embed="rId3" cstate="print"/>
          <a:stretch>
            <a:fillRect/>
          </a:stretch>
        </p:blipFill>
        <p:spPr>
          <a:xfrm>
            <a:off x="2067958" y="1520456"/>
            <a:ext cx="4590167" cy="2711302"/>
          </a:xfrm>
          <a:prstGeom prst="rect">
            <a:avLst/>
          </a:prstGeom>
        </p:spPr>
      </p:pic>
      <p:sp>
        <p:nvSpPr>
          <p:cNvPr id="10" name="Rounded Rectangle 9"/>
          <p:cNvSpPr/>
          <p:nvPr/>
        </p:nvSpPr>
        <p:spPr>
          <a:xfrm>
            <a:off x="838200" y="5562600"/>
            <a:ext cx="8412480" cy="7467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400" dirty="0">
                <a:solidFill>
                  <a:schemeClr val="tx2">
                    <a:lumMod val="50000"/>
                  </a:schemeClr>
                </a:solidFill>
              </a:rPr>
              <a:t>Six Sigma is </a:t>
            </a:r>
            <a:r>
              <a:rPr lang="en-US" sz="1400" dirty="0" smtClean="0">
                <a:solidFill>
                  <a:schemeClr val="tx2">
                    <a:lumMod val="50000"/>
                  </a:schemeClr>
                </a:solidFill>
              </a:rPr>
              <a:t>methodology </a:t>
            </a:r>
            <a:r>
              <a:rPr lang="en-US" sz="1400" dirty="0">
                <a:solidFill>
                  <a:schemeClr val="tx2">
                    <a:lumMod val="50000"/>
                  </a:schemeClr>
                </a:solidFill>
              </a:rPr>
              <a:t>adopted </a:t>
            </a:r>
            <a:r>
              <a:rPr lang="en-US" sz="1400" dirty="0" smtClean="0">
                <a:solidFill>
                  <a:schemeClr val="tx2">
                    <a:lumMod val="50000"/>
                  </a:schemeClr>
                </a:solidFill>
              </a:rPr>
              <a:t>in engagement </a:t>
            </a:r>
            <a:r>
              <a:rPr lang="en-US" sz="1400" dirty="0">
                <a:solidFill>
                  <a:schemeClr val="tx2">
                    <a:lumMod val="50000"/>
                  </a:schemeClr>
                </a:solidFill>
              </a:rPr>
              <a:t>which would help to reduce </a:t>
            </a:r>
            <a:r>
              <a:rPr lang="en-US" sz="1400" dirty="0" smtClean="0">
                <a:solidFill>
                  <a:schemeClr val="tx2">
                    <a:lumMod val="50000"/>
                  </a:schemeClr>
                </a:solidFill>
              </a:rPr>
              <a:t>defects.</a:t>
            </a:r>
            <a:endParaRPr lang="en-US" sz="1400" dirty="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t>Why Quality is important?</a:t>
            </a:r>
            <a:endParaRPr lang="en-US" sz="2400" dirty="0" smtClean="0">
              <a:solidFill>
                <a:schemeClr val="tx1"/>
              </a:solidFill>
            </a:endParaRPr>
          </a:p>
        </p:txBody>
      </p:sp>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endParaRPr>
          </a:p>
        </p:txBody>
      </p:sp>
      <p:graphicFrame>
        <p:nvGraphicFramePr>
          <p:cNvPr id="178178" name="Object 2"/>
          <p:cNvGraphicFramePr>
            <a:graphicFrameLocks noChangeAspect="1"/>
          </p:cNvGraphicFramePr>
          <p:nvPr/>
        </p:nvGraphicFramePr>
        <p:xfrm>
          <a:off x="2836079" y="2621539"/>
          <a:ext cx="3382567" cy="1503363"/>
        </p:xfrm>
        <a:graphic>
          <a:graphicData uri="http://schemas.openxmlformats.org/presentationml/2006/ole">
            <mc:AlternateContent xmlns:mc="http://schemas.openxmlformats.org/markup-compatibility/2006">
              <mc:Choice xmlns:v="urn:schemas-microsoft-com:vml" Requires="v">
                <p:oleObj spid="_x0000_s178192" name="Packager Shell Object" showAsIcon="1" r:id="rId4" imgW="1957589" imgH="862885" progId="Package">
                  <p:embed/>
                </p:oleObj>
              </mc:Choice>
              <mc:Fallback>
                <p:oleObj name="Packager Shell Object" showAsIcon="1" r:id="rId4" imgW="1957589" imgH="862885" progId="Package">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6079" y="2621539"/>
                        <a:ext cx="3382567" cy="150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cut/>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Continuous Improvement – PDCA Cycle</a:t>
            </a:r>
            <a:endParaRPr lang="en-US" sz="2400" dirty="0">
              <a:solidFill>
                <a:srgbClr val="002060"/>
              </a:solidFill>
            </a:endParaRPr>
          </a:p>
        </p:txBody>
      </p:sp>
      <p:sp>
        <p:nvSpPr>
          <p:cNvPr id="4" name="Rectangle 3"/>
          <p:cNvSpPr/>
          <p:nvPr/>
        </p:nvSpPr>
        <p:spPr>
          <a:xfrm>
            <a:off x="908852" y="4806380"/>
            <a:ext cx="8094309" cy="1600438"/>
          </a:xfrm>
          <a:prstGeom prst="rect">
            <a:avLst/>
          </a:prstGeom>
        </p:spPr>
        <p:txBody>
          <a:bodyPr wrap="square">
            <a:spAutoFit/>
          </a:bodyPr>
          <a:lstStyle/>
          <a:p>
            <a:r>
              <a:rPr lang="en-US" sz="1400" dirty="0" smtClean="0"/>
              <a:t>Below are some of the activities through with we achieve continuous improvement in </a:t>
            </a:r>
            <a:r>
              <a:rPr lang="en-US" sz="1400" dirty="0" err="1" smtClean="0"/>
              <a:t>Capgemini</a:t>
            </a:r>
            <a:r>
              <a:rPr lang="en-US" sz="1400" dirty="0" smtClean="0"/>
              <a:t>.</a:t>
            </a:r>
          </a:p>
          <a:p>
            <a:pPr lvl="1">
              <a:buFont typeface="Wingdings" pitchFamily="2" charset="2"/>
              <a:buChar char="ü"/>
            </a:pPr>
            <a:r>
              <a:rPr lang="en-US" sz="1400" dirty="0" smtClean="0"/>
              <a:t>Automation – Metrics Submission through PMTS</a:t>
            </a:r>
          </a:p>
          <a:p>
            <a:pPr lvl="1">
              <a:buFont typeface="Wingdings" pitchFamily="2" charset="2"/>
              <a:buChar char="ü"/>
            </a:pPr>
            <a:r>
              <a:rPr lang="en-US" sz="1400" dirty="0" smtClean="0"/>
              <a:t>Industrialization: Code Quality Improvement</a:t>
            </a:r>
          </a:p>
          <a:p>
            <a:pPr lvl="1">
              <a:buFont typeface="Wingdings" pitchFamily="2" charset="2"/>
              <a:buChar char="ü"/>
            </a:pPr>
            <a:r>
              <a:rPr lang="en-US" sz="1400" dirty="0" smtClean="0"/>
              <a:t>FMEA Implementation</a:t>
            </a:r>
          </a:p>
          <a:p>
            <a:pPr lvl="1">
              <a:buFont typeface="Wingdings" pitchFamily="2" charset="2"/>
              <a:buChar char="ü"/>
            </a:pPr>
            <a:r>
              <a:rPr lang="en-US" sz="1400" dirty="0" smtClean="0"/>
              <a:t>PM Workshop, CM Workshops, Rapid Start Workshop</a:t>
            </a:r>
          </a:p>
          <a:p>
            <a:pPr lvl="1">
              <a:buFont typeface="Wingdings" pitchFamily="2" charset="2"/>
              <a:buChar char="ü"/>
            </a:pPr>
            <a:r>
              <a:rPr lang="en-US" sz="1400" dirty="0" err="1" smtClean="0"/>
              <a:t>iCompass</a:t>
            </a:r>
            <a:r>
              <a:rPr lang="en-US" sz="1400" dirty="0" smtClean="0"/>
              <a:t> for Skills and Competency Assessment</a:t>
            </a:r>
          </a:p>
          <a:p>
            <a:pPr lvl="1">
              <a:buFont typeface="Wingdings" pitchFamily="2" charset="2"/>
              <a:buChar char="ü"/>
            </a:pPr>
            <a:r>
              <a:rPr lang="en-US" sz="1400" dirty="0" smtClean="0"/>
              <a:t>Process Model for prediction</a:t>
            </a:r>
            <a:endParaRPr lang="en-US" sz="1400" dirty="0"/>
          </a:p>
        </p:txBody>
      </p:sp>
      <p:pic>
        <p:nvPicPr>
          <p:cNvPr id="7" name="Picture 6" descr="PDCA_Cycle.png"/>
          <p:cNvPicPr>
            <a:picLocks noChangeAspect="1"/>
          </p:cNvPicPr>
          <p:nvPr/>
        </p:nvPicPr>
        <p:blipFill>
          <a:blip r:embed="rId3" cstate="print"/>
          <a:stretch>
            <a:fillRect/>
          </a:stretch>
        </p:blipFill>
        <p:spPr>
          <a:xfrm>
            <a:off x="975359" y="1493521"/>
            <a:ext cx="7344969" cy="3185160"/>
          </a:xfrm>
          <a:prstGeom prst="rect">
            <a:avLst/>
          </a:prstGeom>
        </p:spPr>
      </p:pic>
      <p:sp>
        <p:nvSpPr>
          <p:cNvPr id="9" name="TextBox 8"/>
          <p:cNvSpPr txBox="1"/>
          <p:nvPr/>
        </p:nvSpPr>
        <p:spPr>
          <a:xfrm>
            <a:off x="944880" y="1188720"/>
            <a:ext cx="6202680" cy="307777"/>
          </a:xfrm>
          <a:prstGeom prst="rect">
            <a:avLst/>
          </a:prstGeom>
          <a:noFill/>
        </p:spPr>
        <p:txBody>
          <a:bodyPr wrap="square" rtlCol="0">
            <a:spAutoFit/>
          </a:bodyPr>
          <a:lstStyle/>
          <a:p>
            <a:r>
              <a:rPr lang="en-US" sz="1400" dirty="0" smtClean="0"/>
              <a:t>In </a:t>
            </a:r>
            <a:r>
              <a:rPr lang="en-US" sz="1400" dirty="0" err="1" smtClean="0"/>
              <a:t>Capgemini</a:t>
            </a:r>
            <a:r>
              <a:rPr lang="en-US" sz="1400" dirty="0" smtClean="0"/>
              <a:t>, we follow PDCA cycle for continuous improvement</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b="1" u="sng" dirty="0" smtClean="0"/>
              <a:t>Walkthrough of Basic Templates</a:t>
            </a:r>
          </a:p>
          <a:p>
            <a:pPr marL="342900" indent="-342900">
              <a:buFont typeface="+mj-lt"/>
              <a:buAutoNum type="arabicPeriod"/>
            </a:pPr>
            <a:r>
              <a:rPr lang="en-US" sz="2000" dirty="0" smtClean="0"/>
              <a:t>Case Studies &amp; Games</a:t>
            </a:r>
            <a:endParaRPr lang="en-US" sz="2000" dirty="0"/>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a:t>
            </a:r>
            <a:endParaRPr lang="en-US" sz="2400" dirty="0">
              <a:solidFill>
                <a:srgbClr val="002060"/>
              </a:solidFill>
            </a:endParaRPr>
          </a:p>
        </p:txBody>
      </p:sp>
      <p:sp>
        <p:nvSpPr>
          <p:cNvPr id="7" name="Rectangle 6"/>
          <p:cNvSpPr/>
          <p:nvPr/>
        </p:nvSpPr>
        <p:spPr>
          <a:xfrm>
            <a:off x="648226" y="1527304"/>
            <a:ext cx="6972300" cy="1600438"/>
          </a:xfrm>
          <a:prstGeom prst="rect">
            <a:avLst/>
          </a:prstGeom>
        </p:spPr>
        <p:txBody>
          <a:bodyPr wrap="square">
            <a:spAutoFit/>
          </a:bodyPr>
          <a:lstStyle/>
          <a:p>
            <a:pPr>
              <a:buFont typeface="Wingdings" pitchFamily="2" charset="2"/>
              <a:buChar char="Ø"/>
            </a:pPr>
            <a:r>
              <a:rPr lang="en-US" sz="2000" dirty="0" smtClean="0"/>
              <a:t>Opening a Timesheet in Clarity</a:t>
            </a:r>
          </a:p>
          <a:p>
            <a:pPr>
              <a:buFont typeface="Wingdings" pitchFamily="2" charset="2"/>
              <a:buChar char="Ø"/>
            </a:pPr>
            <a:r>
              <a:rPr lang="en-US" sz="2000" dirty="0" smtClean="0"/>
              <a:t>Different Scenarios for Filling up of Timesheets</a:t>
            </a:r>
          </a:p>
          <a:p>
            <a:pPr lvl="1">
              <a:buFont typeface="Wingdings" pitchFamily="2" charset="2"/>
              <a:buChar char="Ø"/>
            </a:pPr>
            <a:r>
              <a:rPr lang="en-US" dirty="0" smtClean="0"/>
              <a:t>Task Assigned to the Resource</a:t>
            </a:r>
          </a:p>
          <a:p>
            <a:pPr lvl="1">
              <a:buFont typeface="Wingdings" pitchFamily="2" charset="2"/>
              <a:buChar char="Ø"/>
            </a:pPr>
            <a:r>
              <a:rPr lang="en-US" dirty="0" smtClean="0"/>
              <a:t>Task not Assigned to the Resource</a:t>
            </a:r>
            <a:endParaRPr lang="en-US" sz="2000" dirty="0" smtClean="0"/>
          </a:p>
          <a:p>
            <a:pPr>
              <a:buFont typeface="Wingdings" pitchFamily="2" charset="2"/>
              <a:buChar char="Ø"/>
            </a:pPr>
            <a:r>
              <a:rPr lang="en-US" sz="2000" dirty="0" smtClean="0"/>
              <a:t>Submitting Timesheets</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pic>
        <p:nvPicPr>
          <p:cNvPr id="10" name="Picture 2"/>
          <p:cNvPicPr>
            <a:picLocks noChangeAspect="1" noChangeArrowheads="1"/>
          </p:cNvPicPr>
          <p:nvPr/>
        </p:nvPicPr>
        <p:blipFill>
          <a:blip r:embed="rId3" cstate="print"/>
          <a:srcRect l="1266" t="16680" r="2500" b="42898"/>
          <a:stretch>
            <a:fillRect/>
          </a:stretch>
        </p:blipFill>
        <p:spPr bwMode="auto">
          <a:xfrm>
            <a:off x="0" y="1508760"/>
            <a:ext cx="9894888" cy="47729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ular Callout 10"/>
          <p:cNvSpPr/>
          <p:nvPr/>
        </p:nvSpPr>
        <p:spPr>
          <a:xfrm>
            <a:off x="898525" y="3696641"/>
            <a:ext cx="3067050" cy="519758"/>
          </a:xfrm>
          <a:prstGeom prst="wedgeRoundRectCallout">
            <a:avLst>
              <a:gd name="adj1" fmla="val -47648"/>
              <a:gd name="adj2" fmla="val -9693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timesheets link under Home tab </a:t>
            </a:r>
          </a:p>
        </p:txBody>
      </p:sp>
      <p:sp>
        <p:nvSpPr>
          <p:cNvPr id="12" name="Rounded Rectangular Callout 11"/>
          <p:cNvSpPr/>
          <p:nvPr/>
        </p:nvSpPr>
        <p:spPr>
          <a:xfrm>
            <a:off x="1382713" y="4674701"/>
            <a:ext cx="2333625" cy="1142852"/>
          </a:xfrm>
          <a:prstGeom prst="wedgeRoundRectCallout">
            <a:avLst>
              <a:gd name="adj1" fmla="val -88307"/>
              <a:gd name="adj2" fmla="val 44679"/>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the on the clock icon of the timesheet group that contains the day against which you want to book time</a:t>
            </a:r>
          </a:p>
        </p:txBody>
      </p:sp>
      <p:sp>
        <p:nvSpPr>
          <p:cNvPr id="13" name="Rectangle 12"/>
          <p:cNvSpPr/>
          <p:nvPr/>
        </p:nvSpPr>
        <p:spPr>
          <a:xfrm>
            <a:off x="2244976" y="1057320"/>
            <a:ext cx="4201543" cy="384721"/>
          </a:xfrm>
          <a:prstGeom prst="rect">
            <a:avLst/>
          </a:prstGeom>
        </p:spPr>
        <p:txBody>
          <a:bodyPr wrap="square">
            <a:spAutoFit/>
          </a:bodyPr>
          <a:lstStyle/>
          <a:p>
            <a:r>
              <a:rPr lang="en-US" b="1" dirty="0" smtClean="0">
                <a:solidFill>
                  <a:srgbClr val="00A0D6"/>
                </a:solidFill>
              </a:rPr>
              <a:t>O</a:t>
            </a:r>
            <a:r>
              <a:rPr lang="en-US" b="1" dirty="0" smtClean="0"/>
              <a:t>pening a Timesheet in Clarity</a:t>
            </a:r>
            <a:endParaRPr lang="en-US" b="1" dirty="0"/>
          </a:p>
        </p:txBody>
      </p:sp>
      <p:sp>
        <p:nvSpPr>
          <p:cNvPr id="14" name="Rounded Rectangle 13"/>
          <p:cNvSpPr/>
          <p:nvPr/>
        </p:nvSpPr>
        <p:spPr>
          <a:xfrm>
            <a:off x="418465" y="3182620"/>
            <a:ext cx="558800" cy="21431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le 14"/>
          <p:cNvSpPr/>
          <p:nvPr/>
        </p:nvSpPr>
        <p:spPr>
          <a:xfrm>
            <a:off x="266383" y="5720398"/>
            <a:ext cx="201612" cy="2619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linds(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linds(horizontal)">
                                      <p:cBhvr>
                                        <p:cTn id="17" dur="500"/>
                                        <p:tgtEl>
                                          <p:spTgt spid="14"/>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linds(horizontal)">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blinds(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p:bldP spid="14" grpId="0" animBg="1"/>
      <p:bldP spid="15"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pic>
        <p:nvPicPr>
          <p:cNvPr id="4" name="Picture 2"/>
          <p:cNvPicPr>
            <a:picLocks noChangeAspect="1" noChangeArrowheads="1"/>
          </p:cNvPicPr>
          <p:nvPr/>
        </p:nvPicPr>
        <p:blipFill>
          <a:blip r:embed="rId3" cstate="print"/>
          <a:srcRect t="16558" r="12338" b="46429"/>
          <a:stretch>
            <a:fillRect/>
          </a:stretch>
        </p:blipFill>
        <p:spPr bwMode="auto">
          <a:xfrm>
            <a:off x="50718" y="1447800"/>
            <a:ext cx="9778129" cy="48463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le 4"/>
          <p:cNvSpPr/>
          <p:nvPr/>
        </p:nvSpPr>
        <p:spPr>
          <a:xfrm>
            <a:off x="2835275" y="1147294"/>
            <a:ext cx="6994525" cy="64135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tx2">
                    <a:lumMod val="50000"/>
                  </a:schemeClr>
                </a:solidFill>
              </a:rPr>
              <a:t>Once you open your timesheet by clicking on the clock icon of the timesheet group then the following screen will be displayed:</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sp>
        <p:nvSpPr>
          <p:cNvPr id="5" name="Content Placeholder 2"/>
          <p:cNvSpPr>
            <a:spLocks noGrp="1"/>
          </p:cNvSpPr>
          <p:nvPr>
            <p:ph idx="1"/>
          </p:nvPr>
        </p:nvSpPr>
        <p:spPr>
          <a:xfrm>
            <a:off x="339090" y="5735955"/>
            <a:ext cx="9582150" cy="712788"/>
          </a:xfrm>
        </p:spPr>
        <p:txBody>
          <a:bodyPr/>
          <a:lstStyle/>
          <a:p>
            <a:r>
              <a:rPr lang="en-US" sz="1800" dirty="0" smtClean="0">
                <a:cs typeface="Arial" pitchFamily="34" charset="0"/>
              </a:rPr>
              <a:t>Click on the task name to see the start date and end date of the task.</a:t>
            </a:r>
          </a:p>
          <a:p>
            <a:r>
              <a:rPr lang="en-US" sz="1800" dirty="0" smtClean="0">
                <a:cs typeface="Arial" pitchFamily="34" charset="0"/>
              </a:rPr>
              <a:t>You can now enter the time for the tasks assigned to you                           </a:t>
            </a:r>
          </a:p>
          <a:p>
            <a:endParaRPr lang="en-US" dirty="0" smtClean="0"/>
          </a:p>
        </p:txBody>
      </p:sp>
      <p:sp>
        <p:nvSpPr>
          <p:cNvPr id="7" name="Rectangle 6"/>
          <p:cNvSpPr/>
          <p:nvPr/>
        </p:nvSpPr>
        <p:spPr>
          <a:xfrm>
            <a:off x="2818358" y="1118280"/>
            <a:ext cx="3796360" cy="384721"/>
          </a:xfrm>
          <a:prstGeom prst="rect">
            <a:avLst/>
          </a:prstGeom>
        </p:spPr>
        <p:txBody>
          <a:bodyPr wrap="none">
            <a:spAutoFit/>
          </a:bodyPr>
          <a:lstStyle/>
          <a:p>
            <a:r>
              <a:rPr lang="en-US" b="1" dirty="0" smtClean="0">
                <a:solidFill>
                  <a:srgbClr val="00A0D6"/>
                </a:solidFill>
              </a:rPr>
              <a:t>T</a:t>
            </a:r>
            <a:r>
              <a:rPr lang="en-US" b="1" dirty="0" smtClean="0"/>
              <a:t>ask Assigned to the Resource</a:t>
            </a:r>
            <a:endParaRPr lang="en-US" b="1" dirty="0"/>
          </a:p>
        </p:txBody>
      </p:sp>
      <p:pic>
        <p:nvPicPr>
          <p:cNvPr id="9" name="Picture 2"/>
          <p:cNvPicPr>
            <a:picLocks noChangeAspect="1" noChangeArrowheads="1"/>
          </p:cNvPicPr>
          <p:nvPr/>
        </p:nvPicPr>
        <p:blipFill>
          <a:blip r:embed="rId3" cstate="print"/>
          <a:srcRect l="1364" t="16802" r="1623" b="37054"/>
          <a:stretch>
            <a:fillRect/>
          </a:stretch>
        </p:blipFill>
        <p:spPr bwMode="auto">
          <a:xfrm>
            <a:off x="47625" y="1532255"/>
            <a:ext cx="9767888" cy="41195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1839913" y="5081905"/>
            <a:ext cx="712787" cy="333375"/>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ounded Rectangular Callout 10"/>
          <p:cNvSpPr/>
          <p:nvPr/>
        </p:nvSpPr>
        <p:spPr>
          <a:xfrm>
            <a:off x="3094038" y="4832668"/>
            <a:ext cx="4125912"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ing on Populate, populates all the tasks in the timesheet that are assigned to you as below</a:t>
            </a:r>
          </a:p>
        </p:txBody>
      </p:sp>
      <p:sp>
        <p:nvSpPr>
          <p:cNvPr id="12" name="Rounded Rectangle 11"/>
          <p:cNvSpPr/>
          <p:nvPr/>
        </p:nvSpPr>
        <p:spPr>
          <a:xfrm>
            <a:off x="330200" y="3846830"/>
            <a:ext cx="180975" cy="1905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3" name="Rounded Rectangular Callout 12"/>
          <p:cNvSpPr/>
          <p:nvPr/>
        </p:nvSpPr>
        <p:spPr>
          <a:xfrm>
            <a:off x="312738" y="2859405"/>
            <a:ext cx="1765300" cy="417513"/>
          </a:xfrm>
          <a:prstGeom prst="wedgeRoundRectCallout">
            <a:avLst>
              <a:gd name="adj1" fmla="val -38684"/>
              <a:gd name="adj2" fmla="val 193460"/>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lick on this icon </a:t>
            </a:r>
          </a:p>
          <a:p>
            <a:pPr algn="ctr">
              <a:defRPr/>
            </a:pPr>
            <a:r>
              <a:rPr lang="en-US" sz="1400" dirty="0">
                <a:solidFill>
                  <a:schemeClr val="tx2">
                    <a:lumMod val="50000"/>
                  </a:schemeClr>
                </a:solidFill>
              </a:rPr>
              <a:t>to add a note</a:t>
            </a:r>
          </a:p>
        </p:txBody>
      </p:sp>
      <p:sp>
        <p:nvSpPr>
          <p:cNvPr id="14" name="Rounded Rectangle 13"/>
          <p:cNvSpPr/>
          <p:nvPr/>
        </p:nvSpPr>
        <p:spPr>
          <a:xfrm>
            <a:off x="8083550" y="4070668"/>
            <a:ext cx="312738" cy="3000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5" name="Rounded Rectangular Callout 14"/>
          <p:cNvSpPr/>
          <p:nvPr/>
        </p:nvSpPr>
        <p:spPr>
          <a:xfrm>
            <a:off x="7507288" y="2446655"/>
            <a:ext cx="1765300" cy="722313"/>
          </a:xfrm>
          <a:prstGeom prst="wedgeRoundRectCallout">
            <a:avLst>
              <a:gd name="adj1" fmla="val -11105"/>
              <a:gd name="adj2" fmla="val 174451"/>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the time planned on this task</a:t>
            </a:r>
          </a:p>
        </p:txBody>
      </p:sp>
      <p:sp>
        <p:nvSpPr>
          <p:cNvPr id="16" name="Rounded Rectangular Callout 15"/>
          <p:cNvSpPr/>
          <p:nvPr/>
        </p:nvSpPr>
        <p:spPr>
          <a:xfrm>
            <a:off x="4298950" y="3705543"/>
            <a:ext cx="2347913" cy="328612"/>
          </a:xfrm>
          <a:prstGeom prst="wedgeRoundRectCallout">
            <a:avLst>
              <a:gd name="adj1" fmla="val 41003"/>
              <a:gd name="adj2" fmla="val 135444"/>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ETC is shown as a tooltip</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blinds(horizontal)">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blinds(horizontal)">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blinds(horizontal)">
                                      <p:cBhvr>
                                        <p:cTn id="30" dur="500"/>
                                        <p:tgtEl>
                                          <p:spTgt spid="14"/>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blinds(horizontal)">
                                      <p:cBhvr>
                                        <p:cTn id="33" dur="500"/>
                                        <p:tgtEl>
                                          <p:spTgt spid="15"/>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blinds(horizontal)">
                                      <p:cBhvr>
                                        <p:cTn id="38" dur="500"/>
                                        <p:tgtEl>
                                          <p:spTgt spid="10"/>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blinds(horizontal)">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5">
                                            <p:txEl>
                                              <p:pRg st="0" end="0"/>
                                            </p:txEl>
                                          </p:spTgt>
                                        </p:tgtEl>
                                        <p:attrNameLst>
                                          <p:attrName>style.visibility</p:attrName>
                                        </p:attrNameLst>
                                      </p:cBhvr>
                                      <p:to>
                                        <p:strVal val="visible"/>
                                      </p:to>
                                    </p:set>
                                    <p:animEffect transition="in" filter="blinds(horizontal)">
                                      <p:cBhvr>
                                        <p:cTn id="46" dur="500"/>
                                        <p:tgtEl>
                                          <p:spTgt spid="5">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5">
                                            <p:txEl>
                                              <p:pRg st="1" end="1"/>
                                            </p:txEl>
                                          </p:spTgt>
                                        </p:tgtEl>
                                        <p:attrNameLst>
                                          <p:attrName>style.visibility</p:attrName>
                                        </p:attrNameLst>
                                      </p:cBhvr>
                                      <p:to>
                                        <p:strVal val="visible"/>
                                      </p:to>
                                    </p:set>
                                    <p:animEffect transition="in" filter="blinds(horizontal)">
                                      <p:cBhvr>
                                        <p:cTn id="51" dur="5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p:bldP spid="10" grpId="0" animBg="1"/>
      <p:bldP spid="11" grpId="0" animBg="1"/>
      <p:bldP spid="12" grpId="0" animBg="1"/>
      <p:bldP spid="13" grpId="0" animBg="1"/>
      <p:bldP spid="14" grpId="0" animBg="1"/>
      <p:bldP spid="15" grpId="0" animBg="1"/>
      <p:bldP spid="1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pic>
        <p:nvPicPr>
          <p:cNvPr id="4" name="Picture 2"/>
          <p:cNvPicPr>
            <a:picLocks noChangeAspect="1" noChangeArrowheads="1"/>
          </p:cNvPicPr>
          <p:nvPr/>
        </p:nvPicPr>
        <p:blipFill>
          <a:blip r:embed="rId3" cstate="print"/>
          <a:srcRect l="1364" t="17045" r="36981" b="37054"/>
          <a:stretch>
            <a:fillRect/>
          </a:stretch>
        </p:blipFill>
        <p:spPr bwMode="auto">
          <a:xfrm>
            <a:off x="86678" y="1467168"/>
            <a:ext cx="9761537" cy="48244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ular Callout 4"/>
          <p:cNvSpPr/>
          <p:nvPr/>
        </p:nvSpPr>
        <p:spPr>
          <a:xfrm>
            <a:off x="1932940" y="4899343"/>
            <a:ext cx="4127500" cy="558800"/>
          </a:xfrm>
          <a:prstGeom prst="wedgeRoundRectCallout">
            <a:avLst>
              <a:gd name="adj1" fmla="val -63954"/>
              <a:gd name="adj2" fmla="val -6027"/>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populate, click the “Add Task” tab. This will take you to the following screen</a:t>
            </a:r>
          </a:p>
        </p:txBody>
      </p:sp>
      <p:sp>
        <p:nvSpPr>
          <p:cNvPr id="7" name="Rectangle 6"/>
          <p:cNvSpPr/>
          <p:nvPr/>
        </p:nvSpPr>
        <p:spPr>
          <a:xfrm>
            <a:off x="2228979" y="1057320"/>
            <a:ext cx="4270849" cy="384721"/>
          </a:xfrm>
          <a:prstGeom prst="rect">
            <a:avLst/>
          </a:prstGeom>
        </p:spPr>
        <p:txBody>
          <a:bodyPr wrap="none">
            <a:spAutoFit/>
          </a:bodyPr>
          <a:lstStyle/>
          <a:p>
            <a:r>
              <a:rPr lang="en-US" b="1" dirty="0" smtClean="0">
                <a:solidFill>
                  <a:srgbClr val="00A0D6"/>
                </a:solidFill>
              </a:rPr>
              <a:t>T</a:t>
            </a:r>
            <a:r>
              <a:rPr lang="en-US" b="1" dirty="0" smtClean="0"/>
              <a:t>ask Not Assigned to the Resource</a:t>
            </a:r>
            <a:endParaRPr lang="en-US" b="1" dirty="0"/>
          </a:p>
        </p:txBody>
      </p:sp>
      <p:sp>
        <p:nvSpPr>
          <p:cNvPr id="9" name="Rounded Rectangle 8"/>
          <p:cNvSpPr/>
          <p:nvPr/>
        </p:nvSpPr>
        <p:spPr>
          <a:xfrm>
            <a:off x="184468" y="5167948"/>
            <a:ext cx="1235075" cy="43815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sp>
        <p:nvSpPr>
          <p:cNvPr id="4" name="Content Placeholder 2"/>
          <p:cNvSpPr>
            <a:spLocks noGrp="1"/>
          </p:cNvSpPr>
          <p:nvPr>
            <p:ph idx="1"/>
          </p:nvPr>
        </p:nvSpPr>
        <p:spPr>
          <a:xfrm>
            <a:off x="323850" y="5141913"/>
            <a:ext cx="9582150" cy="1187450"/>
          </a:xfrm>
        </p:spPr>
        <p:txBody>
          <a:bodyPr/>
          <a:lstStyle/>
          <a:p>
            <a:r>
              <a:rPr lang="en-US" sz="1800" dirty="0" smtClean="0"/>
              <a:t>From the drop down in the above snapshot select “Not Assigned” and click filter</a:t>
            </a:r>
          </a:p>
          <a:p>
            <a:r>
              <a:rPr lang="en-US" sz="1800" dirty="0" smtClean="0"/>
              <a:t>On doing so, you will get a list of tasks that were not assigned to you.</a:t>
            </a:r>
          </a:p>
          <a:p>
            <a:r>
              <a:rPr lang="en-US" sz="1800" dirty="0" smtClean="0"/>
              <a:t>Check the check box next to the task against which you want to fill time and then click Add this will add this task to your timesheet enabling you to enter time against this task.</a:t>
            </a:r>
          </a:p>
        </p:txBody>
      </p:sp>
      <p:pic>
        <p:nvPicPr>
          <p:cNvPr id="5" name="Picture 2"/>
          <p:cNvPicPr>
            <a:picLocks noChangeAspect="1" noChangeArrowheads="1"/>
          </p:cNvPicPr>
          <p:nvPr/>
        </p:nvPicPr>
        <p:blipFill>
          <a:blip r:embed="rId3" cstate="print"/>
          <a:srcRect l="1169" t="16802" r="44675" b="41071"/>
          <a:stretch>
            <a:fillRect/>
          </a:stretch>
        </p:blipFill>
        <p:spPr bwMode="auto">
          <a:xfrm>
            <a:off x="522288" y="1389063"/>
            <a:ext cx="8799512" cy="37131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1377950" y="2435225"/>
            <a:ext cx="1354138" cy="249238"/>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3152775" y="2173288"/>
            <a:ext cx="3094038"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Can group by Task Hierarchy to see the Hierarchy above the task</a:t>
            </a:r>
          </a:p>
        </p:txBody>
      </p:sp>
      <p:sp>
        <p:nvSpPr>
          <p:cNvPr id="10" name="Rounded Rectangle 9"/>
          <p:cNvSpPr/>
          <p:nvPr/>
        </p:nvSpPr>
        <p:spPr>
          <a:xfrm>
            <a:off x="2684463" y="3230563"/>
            <a:ext cx="1270000" cy="65246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11" name="Rectangle 10"/>
          <p:cNvSpPr/>
          <p:nvPr/>
        </p:nvSpPr>
        <p:spPr>
          <a:xfrm>
            <a:off x="2228979" y="1026840"/>
            <a:ext cx="4270849" cy="384721"/>
          </a:xfrm>
          <a:prstGeom prst="rect">
            <a:avLst/>
          </a:prstGeom>
        </p:spPr>
        <p:txBody>
          <a:bodyPr wrap="none">
            <a:spAutoFit/>
          </a:bodyPr>
          <a:lstStyle/>
          <a:p>
            <a:r>
              <a:rPr lang="en-US" b="1" dirty="0" smtClean="0">
                <a:solidFill>
                  <a:srgbClr val="00A0D6"/>
                </a:solidFill>
              </a:rPr>
              <a:t>T</a:t>
            </a:r>
            <a:r>
              <a:rPr lang="en-US" b="1" dirty="0" smtClean="0"/>
              <a:t>ask Not Assigned to the Resource</a:t>
            </a:r>
            <a:endParaRPr lang="en-US" b="1" dirty="0"/>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CLARITY Continued…</a:t>
            </a:r>
            <a:endParaRPr lang="en-US" sz="2400" dirty="0">
              <a:solidFill>
                <a:srgbClr val="002060"/>
              </a:solidFill>
            </a:endParaRPr>
          </a:p>
        </p:txBody>
      </p:sp>
      <p:sp>
        <p:nvSpPr>
          <p:cNvPr id="4" name="Content Placeholder 2"/>
          <p:cNvSpPr>
            <a:spLocks noGrp="1"/>
          </p:cNvSpPr>
          <p:nvPr>
            <p:ph idx="1"/>
          </p:nvPr>
        </p:nvSpPr>
        <p:spPr>
          <a:xfrm>
            <a:off x="323850" y="5220335"/>
            <a:ext cx="9582150" cy="1222375"/>
          </a:xfrm>
        </p:spPr>
        <p:txBody>
          <a:bodyPr/>
          <a:lstStyle/>
          <a:p>
            <a:r>
              <a:rPr lang="en-US" sz="1800" smtClean="0">
                <a:cs typeface="Arial" pitchFamily="34" charset="0"/>
              </a:rPr>
              <a:t>In order to book time daily one can save the timesheet and submit it at the end of the week </a:t>
            </a:r>
          </a:p>
          <a:p>
            <a:r>
              <a:rPr lang="en-US" sz="1800" smtClean="0">
                <a:cs typeface="Arial" pitchFamily="34" charset="0"/>
              </a:rPr>
              <a:t>Once you save or submit it, it will deduct the number of hours in ETC column with the time you have already entered and at the same time the total number of hours that you have already entered will be shown in the total column</a:t>
            </a:r>
          </a:p>
          <a:p>
            <a:endParaRPr lang="en-US" smtClean="0">
              <a:cs typeface="Arial" pitchFamily="34" charset="0"/>
            </a:endParaRPr>
          </a:p>
          <a:p>
            <a:endParaRPr lang="en-US" smtClean="0"/>
          </a:p>
        </p:txBody>
      </p:sp>
      <p:pic>
        <p:nvPicPr>
          <p:cNvPr id="5" name="Picture 2"/>
          <p:cNvPicPr>
            <a:picLocks noChangeAspect="1" noChangeArrowheads="1"/>
          </p:cNvPicPr>
          <p:nvPr/>
        </p:nvPicPr>
        <p:blipFill>
          <a:blip r:embed="rId3" cstate="print"/>
          <a:srcRect l="1266" t="20211" r="13604" b="33644"/>
          <a:stretch>
            <a:fillRect/>
          </a:stretch>
        </p:blipFill>
        <p:spPr bwMode="auto">
          <a:xfrm>
            <a:off x="106363" y="1538923"/>
            <a:ext cx="9726612" cy="35385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819150" y="4685348"/>
            <a:ext cx="1341438" cy="24923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err="1">
              <a:solidFill>
                <a:schemeClr val="tx2">
                  <a:lumMod val="50000"/>
                </a:schemeClr>
              </a:solidFill>
            </a:endParaRPr>
          </a:p>
        </p:txBody>
      </p:sp>
      <p:sp>
        <p:nvSpPr>
          <p:cNvPr id="9" name="Rounded Rectangular Callout 8"/>
          <p:cNvSpPr/>
          <p:nvPr/>
        </p:nvSpPr>
        <p:spPr>
          <a:xfrm>
            <a:off x="2713038" y="4436110"/>
            <a:ext cx="3094037" cy="498475"/>
          </a:xfrm>
          <a:prstGeom prst="wedgeRoundRectCallout">
            <a:avLst>
              <a:gd name="adj1" fmla="val -68177"/>
              <a:gd name="adj2" fmla="val -1265"/>
              <a:gd name="adj3" fmla="val 16667"/>
            </a:avLst>
          </a:prstGeom>
          <a:solidFill>
            <a:schemeClr val="accent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lumMod val="50000"/>
                  </a:schemeClr>
                </a:solidFill>
              </a:rPr>
              <a:t>After you fill the timesheet click on Submit for Approval</a:t>
            </a:r>
          </a:p>
        </p:txBody>
      </p:sp>
      <p:sp>
        <p:nvSpPr>
          <p:cNvPr id="10" name="Rectangle 9"/>
          <p:cNvSpPr/>
          <p:nvPr/>
        </p:nvSpPr>
        <p:spPr>
          <a:xfrm>
            <a:off x="2689925" y="1087800"/>
            <a:ext cx="2941190" cy="384721"/>
          </a:xfrm>
          <a:prstGeom prst="rect">
            <a:avLst/>
          </a:prstGeom>
        </p:spPr>
        <p:txBody>
          <a:bodyPr wrap="none">
            <a:spAutoFit/>
          </a:bodyPr>
          <a:lstStyle/>
          <a:p>
            <a:r>
              <a:rPr lang="en-US" dirty="0" smtClean="0">
                <a:solidFill>
                  <a:srgbClr val="00A0D6"/>
                </a:solidFill>
              </a:rPr>
              <a:t>S</a:t>
            </a:r>
            <a:r>
              <a:rPr lang="en-US" dirty="0" smtClean="0"/>
              <a:t>ubmitting the Timesheet</a:t>
            </a:r>
            <a:endParaRPr lang="en-US" dirty="0"/>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a:t>
            </a:r>
            <a:r>
              <a:rPr lang="en-US" sz="2000" b="1" dirty="0" smtClean="0"/>
              <a:t>Coding Standards &amp; Guidelines</a:t>
            </a:r>
            <a:endParaRPr lang="en-US" sz="2000"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smtClean="0">
                <a:solidFill>
                  <a:schemeClr val="tx2">
                    <a:lumMod val="50000"/>
                  </a:schemeClr>
                </a:solidFill>
              </a:rPr>
              <a:t>Coding Standards &amp; Guidelines</a:t>
            </a:r>
          </a:p>
        </p:txBody>
      </p:sp>
      <p:pic>
        <p:nvPicPr>
          <p:cNvPr id="102402" name="Picture 2"/>
          <p:cNvPicPr>
            <a:picLocks noChangeAspect="1" noChangeArrowheads="1"/>
          </p:cNvPicPr>
          <p:nvPr/>
        </p:nvPicPr>
        <p:blipFill>
          <a:blip r:embed="rId3" cstate="print"/>
          <a:srcRect/>
          <a:stretch>
            <a:fillRect/>
          </a:stretch>
        </p:blipFill>
        <p:spPr bwMode="auto">
          <a:xfrm>
            <a:off x="813183" y="2365334"/>
            <a:ext cx="2879142" cy="2846746"/>
          </a:xfrm>
          <a:prstGeom prst="rect">
            <a:avLst/>
          </a:prstGeom>
          <a:noFill/>
          <a:ln w="9525">
            <a:noFill/>
            <a:miter lim="800000"/>
            <a:headEnd/>
            <a:tailEnd/>
          </a:ln>
        </p:spPr>
      </p:pic>
      <p:pic>
        <p:nvPicPr>
          <p:cNvPr id="102403" name="Picture 3"/>
          <p:cNvPicPr>
            <a:picLocks noChangeAspect="1" noChangeArrowheads="1"/>
          </p:cNvPicPr>
          <p:nvPr/>
        </p:nvPicPr>
        <p:blipFill>
          <a:blip r:embed="rId4" cstate="print"/>
          <a:srcRect/>
          <a:stretch>
            <a:fillRect/>
          </a:stretch>
        </p:blipFill>
        <p:spPr bwMode="auto">
          <a:xfrm>
            <a:off x="7245776" y="2219798"/>
            <a:ext cx="2396503" cy="3689078"/>
          </a:xfrm>
          <a:prstGeom prst="rect">
            <a:avLst/>
          </a:prstGeom>
          <a:noFill/>
          <a:ln w="9525">
            <a:noFill/>
            <a:miter lim="800000"/>
            <a:headEnd/>
            <a:tailEnd/>
          </a:ln>
        </p:spPr>
      </p:pic>
      <p:pic>
        <p:nvPicPr>
          <p:cNvPr id="102404" name="Picture 4"/>
          <p:cNvPicPr>
            <a:picLocks noChangeAspect="1" noChangeArrowheads="1"/>
          </p:cNvPicPr>
          <p:nvPr/>
        </p:nvPicPr>
        <p:blipFill>
          <a:blip r:embed="rId5" cstate="print"/>
          <a:srcRect/>
          <a:stretch>
            <a:fillRect/>
          </a:stretch>
        </p:blipFill>
        <p:spPr bwMode="auto">
          <a:xfrm>
            <a:off x="3893176" y="2233916"/>
            <a:ext cx="3007687" cy="3588634"/>
          </a:xfrm>
          <a:prstGeom prst="rect">
            <a:avLst/>
          </a:prstGeom>
          <a:noFill/>
          <a:ln w="9525">
            <a:noFill/>
            <a:miter lim="800000"/>
            <a:headEnd/>
            <a:tailEnd/>
          </a:ln>
        </p:spPr>
      </p:pic>
      <p:sp>
        <p:nvSpPr>
          <p:cNvPr id="9" name="Rounded Rectangle 8"/>
          <p:cNvSpPr/>
          <p:nvPr/>
        </p:nvSpPr>
        <p:spPr>
          <a:xfrm>
            <a:off x="811944" y="1492511"/>
            <a:ext cx="8221696" cy="59436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r>
              <a:rPr lang="en-US" sz="1200" dirty="0" smtClean="0">
                <a:solidFill>
                  <a:schemeClr val="tx2">
                    <a:lumMod val="50000"/>
                  </a:schemeClr>
                </a:solidFill>
              </a:rPr>
              <a:t>Coding standards for different technologies are available and they can be found in QMS at: QMS &gt; Processes &gt; QMS Processes &gt; Document &amp; Coding Standards &gt; Description page provides the links as below.</a:t>
            </a: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grpSp>
        <p:nvGrpSpPr>
          <p:cNvPr id="15" name="Group 5"/>
          <p:cNvGrpSpPr>
            <a:grpSpLocks/>
          </p:cNvGrpSpPr>
          <p:nvPr/>
        </p:nvGrpSpPr>
        <p:grpSpPr bwMode="auto">
          <a:xfrm>
            <a:off x="227965" y="1228725"/>
            <a:ext cx="6142355" cy="2367915"/>
            <a:chOff x="982" y="1182"/>
            <a:chExt cx="4202" cy="1458"/>
          </a:xfrm>
        </p:grpSpPr>
        <p:sp>
          <p:nvSpPr>
            <p:cNvPr id="16" name="AutoShape 6"/>
            <p:cNvSpPr>
              <a:spLocks noChangeAspect="1" noChangeArrowheads="1" noTextEdit="1"/>
            </p:cNvSpPr>
            <p:nvPr/>
          </p:nvSpPr>
          <p:spPr bwMode="auto">
            <a:xfrm>
              <a:off x="982" y="1182"/>
              <a:ext cx="4202" cy="1458"/>
            </a:xfrm>
            <a:prstGeom prst="rect">
              <a:avLst/>
            </a:prstGeom>
            <a:noFill/>
            <a:ln w="9525">
              <a:noFill/>
              <a:miter lim="800000"/>
              <a:headEnd/>
              <a:tailEnd/>
            </a:ln>
          </p:spPr>
          <p:txBody>
            <a:bodyPr/>
            <a:lstStyle/>
            <a:p>
              <a:endParaRPr lang="en-US"/>
            </a:p>
          </p:txBody>
        </p:sp>
        <p:grpSp>
          <p:nvGrpSpPr>
            <p:cNvPr id="17" name="Group 7"/>
            <p:cNvGrpSpPr>
              <a:grpSpLocks/>
            </p:cNvGrpSpPr>
            <p:nvPr/>
          </p:nvGrpSpPr>
          <p:grpSpPr bwMode="auto">
            <a:xfrm>
              <a:off x="1095" y="1811"/>
              <a:ext cx="3864" cy="535"/>
              <a:chOff x="1095" y="1811"/>
              <a:chExt cx="3864" cy="535"/>
            </a:xfrm>
          </p:grpSpPr>
          <p:grpSp>
            <p:nvGrpSpPr>
              <p:cNvPr id="52" name="Group 8"/>
              <p:cNvGrpSpPr>
                <a:grpSpLocks/>
              </p:cNvGrpSpPr>
              <p:nvPr/>
            </p:nvGrpSpPr>
            <p:grpSpPr bwMode="auto">
              <a:xfrm>
                <a:off x="1095" y="1811"/>
                <a:ext cx="3864" cy="535"/>
                <a:chOff x="1095" y="1811"/>
                <a:chExt cx="3864" cy="535"/>
              </a:xfrm>
            </p:grpSpPr>
            <p:sp>
              <p:nvSpPr>
                <p:cNvPr id="54" name="Freeform 9"/>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55" name="Line 10"/>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53" name="Freeform 11"/>
              <p:cNvSpPr>
                <a:spLocks/>
              </p:cNvSpPr>
              <p:nvPr/>
            </p:nvSpPr>
            <p:spPr bwMode="auto">
              <a:xfrm>
                <a:off x="4542" y="2076"/>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grpSp>
          <p:nvGrpSpPr>
            <p:cNvPr id="18" name="Group 12"/>
            <p:cNvGrpSpPr>
              <a:grpSpLocks/>
            </p:cNvGrpSpPr>
            <p:nvPr/>
          </p:nvGrpSpPr>
          <p:grpSpPr bwMode="auto">
            <a:xfrm>
              <a:off x="3897" y="2263"/>
              <a:ext cx="852" cy="354"/>
              <a:chOff x="3897" y="2263"/>
              <a:chExt cx="852" cy="354"/>
            </a:xfrm>
          </p:grpSpPr>
          <p:sp>
            <p:nvSpPr>
              <p:cNvPr id="48" name="Freeform 13"/>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49" name="Freeform 14"/>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50" name="Line 15"/>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51" name="Line 16"/>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19" name="Freeform 17"/>
            <p:cNvSpPr>
              <a:spLocks/>
            </p:cNvSpPr>
            <p:nvPr/>
          </p:nvSpPr>
          <p:spPr bwMode="auto">
            <a:xfrm>
              <a:off x="998" y="2228"/>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20" name="Freeform 18"/>
            <p:cNvSpPr>
              <a:spLocks/>
            </p:cNvSpPr>
            <p:nvPr/>
          </p:nvSpPr>
          <p:spPr bwMode="auto">
            <a:xfrm>
              <a:off x="2479" y="2285"/>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21" name="Group 19"/>
            <p:cNvGrpSpPr>
              <a:grpSpLocks/>
            </p:cNvGrpSpPr>
            <p:nvPr/>
          </p:nvGrpSpPr>
          <p:grpSpPr bwMode="auto">
            <a:xfrm>
              <a:off x="3403" y="1199"/>
              <a:ext cx="1751" cy="625"/>
              <a:chOff x="3403" y="1199"/>
              <a:chExt cx="1751" cy="625"/>
            </a:xfrm>
          </p:grpSpPr>
          <p:sp>
            <p:nvSpPr>
              <p:cNvPr id="44" name="Freeform 20"/>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45" name="Freeform 21"/>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46" name="Freeform 22"/>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47" name="Line 23"/>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22" name="Group 24"/>
            <p:cNvGrpSpPr>
              <a:grpSpLocks/>
            </p:cNvGrpSpPr>
            <p:nvPr/>
          </p:nvGrpSpPr>
          <p:grpSpPr bwMode="auto">
            <a:xfrm>
              <a:off x="1726" y="1811"/>
              <a:ext cx="507" cy="167"/>
              <a:chOff x="1726" y="1811"/>
              <a:chExt cx="507" cy="167"/>
            </a:xfrm>
          </p:grpSpPr>
          <p:sp>
            <p:nvSpPr>
              <p:cNvPr id="42" name="Freeform 25"/>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43" name="Line 26"/>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23" name="Line 27"/>
            <p:cNvSpPr>
              <a:spLocks noChangeShapeType="1"/>
            </p:cNvSpPr>
            <p:nvPr/>
          </p:nvSpPr>
          <p:spPr bwMode="auto">
            <a:xfrm>
              <a:off x="2654" y="2255"/>
              <a:ext cx="20" cy="76"/>
            </a:xfrm>
            <a:prstGeom prst="line">
              <a:avLst/>
            </a:prstGeom>
            <a:noFill/>
            <a:ln w="17463">
              <a:solidFill>
                <a:srgbClr val="000000"/>
              </a:solidFill>
              <a:round/>
              <a:headEnd/>
              <a:tailEnd/>
            </a:ln>
          </p:spPr>
          <p:txBody>
            <a:bodyPr/>
            <a:lstStyle/>
            <a:p>
              <a:endParaRPr lang="en-US"/>
            </a:p>
          </p:txBody>
        </p:sp>
        <p:sp>
          <p:nvSpPr>
            <p:cNvPr id="24" name="Freeform 28"/>
            <p:cNvSpPr>
              <a:spLocks/>
            </p:cNvSpPr>
            <p:nvPr/>
          </p:nvSpPr>
          <p:spPr bwMode="auto">
            <a:xfrm>
              <a:off x="4502" y="1824"/>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25" name="Group 29"/>
            <p:cNvGrpSpPr>
              <a:grpSpLocks/>
            </p:cNvGrpSpPr>
            <p:nvPr/>
          </p:nvGrpSpPr>
          <p:grpSpPr bwMode="auto">
            <a:xfrm>
              <a:off x="2202" y="1848"/>
              <a:ext cx="2948" cy="498"/>
              <a:chOff x="2202" y="1848"/>
              <a:chExt cx="2948" cy="498"/>
            </a:xfrm>
          </p:grpSpPr>
          <p:sp>
            <p:nvSpPr>
              <p:cNvPr id="29" name="Freeform 30"/>
              <p:cNvSpPr>
                <a:spLocks/>
              </p:cNvSpPr>
              <p:nvPr/>
            </p:nvSpPr>
            <p:spPr bwMode="auto">
              <a:xfrm>
                <a:off x="2202" y="1854"/>
                <a:ext cx="2786" cy="492"/>
              </a:xfrm>
              <a:custGeom>
                <a:avLst/>
                <a:gdLst>
                  <a:gd name="T0" fmla="*/ 373 w 2786"/>
                  <a:gd name="T1" fmla="*/ 42 h 492"/>
                  <a:gd name="T2" fmla="*/ 184 w 2786"/>
                  <a:gd name="T3" fmla="*/ 49 h 492"/>
                  <a:gd name="T4" fmla="*/ 120 w 2786"/>
                  <a:gd name="T5" fmla="*/ 57 h 492"/>
                  <a:gd name="T6" fmla="*/ 71 w 2786"/>
                  <a:gd name="T7" fmla="*/ 67 h 492"/>
                  <a:gd name="T8" fmla="*/ 43 w 2786"/>
                  <a:gd name="T9" fmla="*/ 77 h 492"/>
                  <a:gd name="T10" fmla="*/ 24 w 2786"/>
                  <a:gd name="T11" fmla="*/ 94 h 492"/>
                  <a:gd name="T12" fmla="*/ 11 w 2786"/>
                  <a:gd name="T13" fmla="*/ 114 h 492"/>
                  <a:gd name="T14" fmla="*/ 3 w 2786"/>
                  <a:gd name="T15" fmla="*/ 142 h 492"/>
                  <a:gd name="T16" fmla="*/ 0 w 2786"/>
                  <a:gd name="T17" fmla="*/ 180 h 492"/>
                  <a:gd name="T18" fmla="*/ 0 w 2786"/>
                  <a:gd name="T19" fmla="*/ 299 h 492"/>
                  <a:gd name="T20" fmla="*/ 3 w 2786"/>
                  <a:gd name="T21" fmla="*/ 331 h 492"/>
                  <a:gd name="T22" fmla="*/ 11 w 2786"/>
                  <a:gd name="T23" fmla="*/ 354 h 492"/>
                  <a:gd name="T24" fmla="*/ 31 w 2786"/>
                  <a:gd name="T25" fmla="*/ 367 h 492"/>
                  <a:gd name="T26" fmla="*/ 64 w 2786"/>
                  <a:gd name="T27" fmla="*/ 374 h 492"/>
                  <a:gd name="T28" fmla="*/ 97 w 2786"/>
                  <a:gd name="T29" fmla="*/ 377 h 492"/>
                  <a:gd name="T30" fmla="*/ 197 w 2786"/>
                  <a:gd name="T31" fmla="*/ 382 h 492"/>
                  <a:gd name="T32" fmla="*/ 340 w 2786"/>
                  <a:gd name="T33" fmla="*/ 391 h 492"/>
                  <a:gd name="T34" fmla="*/ 498 w 2786"/>
                  <a:gd name="T35" fmla="*/ 404 h 492"/>
                  <a:gd name="T36" fmla="*/ 699 w 2786"/>
                  <a:gd name="T37" fmla="*/ 419 h 492"/>
                  <a:gd name="T38" fmla="*/ 857 w 2786"/>
                  <a:gd name="T39" fmla="*/ 427 h 492"/>
                  <a:gd name="T40" fmla="*/ 977 w 2786"/>
                  <a:gd name="T41" fmla="*/ 431 h 492"/>
                  <a:gd name="T42" fmla="*/ 1093 w 2786"/>
                  <a:gd name="T43" fmla="*/ 446 h 492"/>
                  <a:gd name="T44" fmla="*/ 1239 w 2786"/>
                  <a:gd name="T45" fmla="*/ 469 h 492"/>
                  <a:gd name="T46" fmla="*/ 1319 w 2786"/>
                  <a:gd name="T47" fmla="*/ 489 h 492"/>
                  <a:gd name="T48" fmla="*/ 1384 w 2786"/>
                  <a:gd name="T49" fmla="*/ 492 h 492"/>
                  <a:gd name="T50" fmla="*/ 1424 w 2786"/>
                  <a:gd name="T51" fmla="*/ 459 h 492"/>
                  <a:gd name="T52" fmla="*/ 1520 w 2786"/>
                  <a:gd name="T53" fmla="*/ 414 h 492"/>
                  <a:gd name="T54" fmla="*/ 1479 w 2786"/>
                  <a:gd name="T55" fmla="*/ 431 h 492"/>
                  <a:gd name="T56" fmla="*/ 1580 w 2786"/>
                  <a:gd name="T57" fmla="*/ 407 h 492"/>
                  <a:gd name="T58" fmla="*/ 1691 w 2786"/>
                  <a:gd name="T59" fmla="*/ 387 h 492"/>
                  <a:gd name="T60" fmla="*/ 1896 w 2786"/>
                  <a:gd name="T61" fmla="*/ 359 h 492"/>
                  <a:gd name="T62" fmla="*/ 2055 w 2786"/>
                  <a:gd name="T63" fmla="*/ 346 h 492"/>
                  <a:gd name="T64" fmla="*/ 2218 w 2786"/>
                  <a:gd name="T65" fmla="*/ 327 h 492"/>
                  <a:gd name="T66" fmla="*/ 2336 w 2786"/>
                  <a:gd name="T67" fmla="*/ 312 h 492"/>
                  <a:gd name="T68" fmla="*/ 2439 w 2786"/>
                  <a:gd name="T69" fmla="*/ 292 h 492"/>
                  <a:gd name="T70" fmla="*/ 2556 w 2786"/>
                  <a:gd name="T71" fmla="*/ 261 h 492"/>
                  <a:gd name="T72" fmla="*/ 2659 w 2786"/>
                  <a:gd name="T73" fmla="*/ 215 h 492"/>
                  <a:gd name="T74" fmla="*/ 2715 w 2786"/>
                  <a:gd name="T75" fmla="*/ 175 h 492"/>
                  <a:gd name="T76" fmla="*/ 2786 w 2786"/>
                  <a:gd name="T77" fmla="*/ 99 h 492"/>
                  <a:gd name="T78" fmla="*/ 2667 w 2786"/>
                  <a:gd name="T79" fmla="*/ 99 h 492"/>
                  <a:gd name="T80" fmla="*/ 2527 w 2786"/>
                  <a:gd name="T81" fmla="*/ 84 h 492"/>
                  <a:gd name="T82" fmla="*/ 2360 w 2786"/>
                  <a:gd name="T83" fmla="*/ 72 h 492"/>
                  <a:gd name="T84" fmla="*/ 2340 w 2786"/>
                  <a:gd name="T85" fmla="*/ 19 h 492"/>
                  <a:gd name="T86" fmla="*/ 2248 w 2786"/>
                  <a:gd name="T87" fmla="*/ 19 h 492"/>
                  <a:gd name="T88" fmla="*/ 1974 w 2786"/>
                  <a:gd name="T89" fmla="*/ 12 h 492"/>
                  <a:gd name="T90" fmla="*/ 1691 w 2786"/>
                  <a:gd name="T91" fmla="*/ 4 h 492"/>
                  <a:gd name="T92" fmla="*/ 1220 w 2786"/>
                  <a:gd name="T93" fmla="*/ 0 h 492"/>
                  <a:gd name="T94" fmla="*/ 797 w 2786"/>
                  <a:gd name="T95" fmla="*/ 17 h 492"/>
                  <a:gd name="T96" fmla="*/ 563 w 2786"/>
                  <a:gd name="T97" fmla="*/ 32 h 492"/>
                  <a:gd name="T98" fmla="*/ 373 w 2786"/>
                  <a:gd name="T99" fmla="*/ 42 h 4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86"/>
                  <a:gd name="T151" fmla="*/ 0 h 492"/>
                  <a:gd name="T152" fmla="*/ 2786 w 2786"/>
                  <a:gd name="T153" fmla="*/ 492 h 4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86" h="492">
                    <a:moveTo>
                      <a:pt x="373" y="42"/>
                    </a:moveTo>
                    <a:lnTo>
                      <a:pt x="184" y="49"/>
                    </a:lnTo>
                    <a:lnTo>
                      <a:pt x="120" y="57"/>
                    </a:lnTo>
                    <a:lnTo>
                      <a:pt x="71" y="67"/>
                    </a:lnTo>
                    <a:lnTo>
                      <a:pt x="43" y="77"/>
                    </a:lnTo>
                    <a:lnTo>
                      <a:pt x="24" y="94"/>
                    </a:lnTo>
                    <a:lnTo>
                      <a:pt x="11" y="114"/>
                    </a:lnTo>
                    <a:lnTo>
                      <a:pt x="3" y="142"/>
                    </a:lnTo>
                    <a:lnTo>
                      <a:pt x="0" y="180"/>
                    </a:lnTo>
                    <a:lnTo>
                      <a:pt x="0" y="299"/>
                    </a:lnTo>
                    <a:lnTo>
                      <a:pt x="3" y="331"/>
                    </a:lnTo>
                    <a:lnTo>
                      <a:pt x="11" y="354"/>
                    </a:lnTo>
                    <a:lnTo>
                      <a:pt x="31" y="367"/>
                    </a:lnTo>
                    <a:lnTo>
                      <a:pt x="64" y="374"/>
                    </a:lnTo>
                    <a:lnTo>
                      <a:pt x="97" y="377"/>
                    </a:lnTo>
                    <a:lnTo>
                      <a:pt x="197" y="382"/>
                    </a:lnTo>
                    <a:lnTo>
                      <a:pt x="340" y="391"/>
                    </a:lnTo>
                    <a:lnTo>
                      <a:pt x="498" y="404"/>
                    </a:lnTo>
                    <a:lnTo>
                      <a:pt x="699" y="419"/>
                    </a:lnTo>
                    <a:lnTo>
                      <a:pt x="857" y="427"/>
                    </a:lnTo>
                    <a:lnTo>
                      <a:pt x="977" y="431"/>
                    </a:lnTo>
                    <a:lnTo>
                      <a:pt x="1093" y="446"/>
                    </a:lnTo>
                    <a:lnTo>
                      <a:pt x="1239" y="469"/>
                    </a:lnTo>
                    <a:lnTo>
                      <a:pt x="1319" y="489"/>
                    </a:lnTo>
                    <a:lnTo>
                      <a:pt x="1384" y="492"/>
                    </a:lnTo>
                    <a:lnTo>
                      <a:pt x="1424" y="459"/>
                    </a:lnTo>
                    <a:lnTo>
                      <a:pt x="1520" y="414"/>
                    </a:lnTo>
                    <a:lnTo>
                      <a:pt x="1479" y="431"/>
                    </a:lnTo>
                    <a:lnTo>
                      <a:pt x="1580" y="407"/>
                    </a:lnTo>
                    <a:lnTo>
                      <a:pt x="1691" y="387"/>
                    </a:lnTo>
                    <a:lnTo>
                      <a:pt x="1896" y="359"/>
                    </a:lnTo>
                    <a:lnTo>
                      <a:pt x="2055" y="346"/>
                    </a:lnTo>
                    <a:lnTo>
                      <a:pt x="2218" y="327"/>
                    </a:lnTo>
                    <a:lnTo>
                      <a:pt x="2336" y="312"/>
                    </a:lnTo>
                    <a:lnTo>
                      <a:pt x="2439" y="292"/>
                    </a:lnTo>
                    <a:lnTo>
                      <a:pt x="2556" y="261"/>
                    </a:lnTo>
                    <a:lnTo>
                      <a:pt x="2659" y="215"/>
                    </a:lnTo>
                    <a:lnTo>
                      <a:pt x="2715" y="175"/>
                    </a:lnTo>
                    <a:lnTo>
                      <a:pt x="2786" y="99"/>
                    </a:lnTo>
                    <a:lnTo>
                      <a:pt x="2667" y="99"/>
                    </a:lnTo>
                    <a:lnTo>
                      <a:pt x="2527" y="84"/>
                    </a:lnTo>
                    <a:lnTo>
                      <a:pt x="2360" y="72"/>
                    </a:lnTo>
                    <a:lnTo>
                      <a:pt x="2340" y="19"/>
                    </a:lnTo>
                    <a:lnTo>
                      <a:pt x="2248" y="19"/>
                    </a:lnTo>
                    <a:lnTo>
                      <a:pt x="1974" y="12"/>
                    </a:lnTo>
                    <a:lnTo>
                      <a:pt x="1691" y="4"/>
                    </a:lnTo>
                    <a:lnTo>
                      <a:pt x="1220" y="0"/>
                    </a:lnTo>
                    <a:lnTo>
                      <a:pt x="797" y="17"/>
                    </a:lnTo>
                    <a:lnTo>
                      <a:pt x="563" y="32"/>
                    </a:lnTo>
                    <a:lnTo>
                      <a:pt x="373" y="42"/>
                    </a:lnTo>
                    <a:close/>
                  </a:path>
                </a:pathLst>
              </a:custGeom>
              <a:solidFill>
                <a:schemeClr val="accent1"/>
              </a:solidFill>
              <a:ln w="17526">
                <a:solidFill>
                  <a:srgbClr val="000000"/>
                </a:solidFill>
                <a:round/>
                <a:headEnd/>
                <a:tailEnd/>
              </a:ln>
            </p:spPr>
            <p:txBody>
              <a:bodyPr/>
              <a:lstStyle/>
              <a:p>
                <a:endParaRPr lang="en-US"/>
              </a:p>
            </p:txBody>
          </p:sp>
          <p:grpSp>
            <p:nvGrpSpPr>
              <p:cNvPr id="30" name="Group 31"/>
              <p:cNvGrpSpPr>
                <a:grpSpLocks/>
              </p:cNvGrpSpPr>
              <p:nvPr/>
            </p:nvGrpSpPr>
            <p:grpSpPr bwMode="auto">
              <a:xfrm>
                <a:off x="2602" y="1983"/>
                <a:ext cx="93" cy="135"/>
                <a:chOff x="2602" y="1983"/>
                <a:chExt cx="93" cy="135"/>
              </a:xfrm>
            </p:grpSpPr>
            <p:sp>
              <p:nvSpPr>
                <p:cNvPr id="40" name="Rectangle 32"/>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41" name="Freeform 33"/>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31" name="Group 34"/>
              <p:cNvGrpSpPr>
                <a:grpSpLocks/>
              </p:cNvGrpSpPr>
              <p:nvPr/>
            </p:nvGrpSpPr>
            <p:grpSpPr bwMode="auto">
              <a:xfrm>
                <a:off x="3290" y="1996"/>
                <a:ext cx="339" cy="277"/>
                <a:chOff x="3290" y="1996"/>
                <a:chExt cx="339" cy="277"/>
              </a:xfrm>
            </p:grpSpPr>
            <p:sp>
              <p:nvSpPr>
                <p:cNvPr id="38" name="Freeform 35"/>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39" name="Freeform 36"/>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32" name="Line 37"/>
              <p:cNvSpPr>
                <a:spLocks noChangeShapeType="1"/>
              </p:cNvSpPr>
              <p:nvPr/>
            </p:nvSpPr>
            <p:spPr bwMode="auto">
              <a:xfrm>
                <a:off x="2262" y="1934"/>
                <a:ext cx="1" cy="302"/>
              </a:xfrm>
              <a:prstGeom prst="line">
                <a:avLst/>
              </a:prstGeom>
              <a:noFill/>
              <a:ln w="17463">
                <a:solidFill>
                  <a:srgbClr val="000000"/>
                </a:solidFill>
                <a:round/>
                <a:headEnd/>
                <a:tailEnd/>
              </a:ln>
            </p:spPr>
            <p:txBody>
              <a:bodyPr/>
              <a:lstStyle/>
              <a:p>
                <a:endParaRPr lang="en-US"/>
              </a:p>
            </p:txBody>
          </p:sp>
          <p:sp>
            <p:nvSpPr>
              <p:cNvPr id="33" name="Freeform 38"/>
              <p:cNvSpPr>
                <a:spLocks/>
              </p:cNvSpPr>
              <p:nvPr/>
            </p:nvSpPr>
            <p:spPr bwMode="auto">
              <a:xfrm>
                <a:off x="4241" y="194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34" name="Group 39"/>
              <p:cNvGrpSpPr>
                <a:grpSpLocks/>
              </p:cNvGrpSpPr>
              <p:nvPr/>
            </p:nvGrpSpPr>
            <p:grpSpPr bwMode="auto">
              <a:xfrm>
                <a:off x="2834" y="1968"/>
                <a:ext cx="381" cy="86"/>
                <a:chOff x="2834" y="1968"/>
                <a:chExt cx="381" cy="86"/>
              </a:xfrm>
            </p:grpSpPr>
            <p:sp>
              <p:nvSpPr>
                <p:cNvPr id="36" name="Freeform 40"/>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37" name="Line 41"/>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35" name="Freeform 42"/>
              <p:cNvSpPr>
                <a:spLocks/>
              </p:cNvSpPr>
              <p:nvPr/>
            </p:nvSpPr>
            <p:spPr bwMode="auto">
              <a:xfrm>
                <a:off x="2518" y="1848"/>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grpSp>
          <p:nvGrpSpPr>
            <p:cNvPr id="26" name="Group 43"/>
            <p:cNvGrpSpPr>
              <a:grpSpLocks/>
            </p:cNvGrpSpPr>
            <p:nvPr/>
          </p:nvGrpSpPr>
          <p:grpSpPr bwMode="auto">
            <a:xfrm>
              <a:off x="1651" y="1826"/>
              <a:ext cx="574" cy="459"/>
              <a:chOff x="1651" y="1826"/>
              <a:chExt cx="574" cy="459"/>
            </a:xfrm>
          </p:grpSpPr>
          <p:sp>
            <p:nvSpPr>
              <p:cNvPr id="27" name="Freeform 44"/>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28" name="Line 45"/>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56" name="Rectangle 203"/>
          <p:cNvSpPr>
            <a:spLocks noChangeArrowheads="1"/>
          </p:cNvSpPr>
          <p:nvPr/>
        </p:nvSpPr>
        <p:spPr bwMode="auto">
          <a:xfrm>
            <a:off x="233680" y="1493203"/>
            <a:ext cx="5332413" cy="400110"/>
          </a:xfrm>
          <a:prstGeom prst="rect">
            <a:avLst/>
          </a:prstGeom>
          <a:noFill/>
          <a:ln w="12700">
            <a:noFill/>
            <a:prstDash val="dash"/>
            <a:miter lim="800000"/>
            <a:headEnd/>
            <a:tailEnd/>
          </a:ln>
        </p:spPr>
        <p:txBody>
          <a:bodyPr>
            <a:spAutoFit/>
          </a:bodyPr>
          <a:lstStyle/>
          <a:p>
            <a:pPr eaLnBrk="1" hangingPunct="1"/>
            <a:r>
              <a:rPr lang="en-US" sz="2000" dirty="0">
                <a:latin typeface="Arial" pitchFamily="34" charset="0"/>
              </a:rPr>
              <a:t>Can be corrected while it was built..</a:t>
            </a:r>
          </a:p>
        </p:txBody>
      </p:sp>
      <p:grpSp>
        <p:nvGrpSpPr>
          <p:cNvPr id="57" name="Group 165"/>
          <p:cNvGrpSpPr>
            <a:grpSpLocks/>
          </p:cNvGrpSpPr>
          <p:nvPr/>
        </p:nvGrpSpPr>
        <p:grpSpPr bwMode="auto">
          <a:xfrm>
            <a:off x="3053398" y="2810193"/>
            <a:ext cx="7142162" cy="3700462"/>
            <a:chOff x="811" y="775"/>
            <a:chExt cx="4499" cy="2331"/>
          </a:xfrm>
          <a:scene3d>
            <a:camera prst="perspectiveRight"/>
            <a:lightRig rig="threePt" dir="t"/>
          </a:scene3d>
        </p:grpSpPr>
        <p:sp>
          <p:nvSpPr>
            <p:cNvPr id="58" name="AutoShape 166"/>
            <p:cNvSpPr>
              <a:spLocks noChangeAspect="1" noChangeArrowheads="1" noTextEdit="1"/>
            </p:cNvSpPr>
            <p:nvPr/>
          </p:nvSpPr>
          <p:spPr bwMode="auto">
            <a:xfrm>
              <a:off x="814" y="1158"/>
              <a:ext cx="4202" cy="1458"/>
            </a:xfrm>
            <a:prstGeom prst="rect">
              <a:avLst/>
            </a:prstGeom>
            <a:noFill/>
            <a:ln w="9525">
              <a:noFill/>
              <a:miter lim="800000"/>
              <a:headEnd/>
              <a:tailEnd/>
            </a:ln>
          </p:spPr>
          <p:txBody>
            <a:bodyPr/>
            <a:lstStyle/>
            <a:p>
              <a:endParaRPr lang="en-US"/>
            </a:p>
          </p:txBody>
        </p:sp>
        <p:grpSp>
          <p:nvGrpSpPr>
            <p:cNvPr id="59" name="Group 167"/>
            <p:cNvGrpSpPr>
              <a:grpSpLocks/>
            </p:cNvGrpSpPr>
            <p:nvPr/>
          </p:nvGrpSpPr>
          <p:grpSpPr bwMode="auto">
            <a:xfrm>
              <a:off x="927" y="1787"/>
              <a:ext cx="3864" cy="535"/>
              <a:chOff x="1095" y="1811"/>
              <a:chExt cx="3864" cy="535"/>
            </a:xfrm>
          </p:grpSpPr>
          <p:sp>
            <p:nvSpPr>
              <p:cNvPr id="93" name="Freeform 168"/>
              <p:cNvSpPr>
                <a:spLocks/>
              </p:cNvSpPr>
              <p:nvPr/>
            </p:nvSpPr>
            <p:spPr bwMode="auto">
              <a:xfrm>
                <a:off x="1095" y="1811"/>
                <a:ext cx="3864" cy="535"/>
              </a:xfrm>
              <a:custGeom>
                <a:avLst/>
                <a:gdLst>
                  <a:gd name="T0" fmla="*/ 1 w 3864"/>
                  <a:gd name="T1" fmla="*/ 415 h 535"/>
                  <a:gd name="T2" fmla="*/ 468 w 3864"/>
                  <a:gd name="T3" fmla="*/ 218 h 535"/>
                  <a:gd name="T4" fmla="*/ 615 w 3864"/>
                  <a:gd name="T5" fmla="*/ 157 h 535"/>
                  <a:gd name="T6" fmla="*/ 739 w 3864"/>
                  <a:gd name="T7" fmla="*/ 55 h 535"/>
                  <a:gd name="T8" fmla="*/ 821 w 3864"/>
                  <a:gd name="T9" fmla="*/ 0 h 535"/>
                  <a:gd name="T10" fmla="*/ 1034 w 3864"/>
                  <a:gd name="T11" fmla="*/ 0 h 535"/>
                  <a:gd name="T12" fmla="*/ 1094 w 3864"/>
                  <a:gd name="T13" fmla="*/ 8 h 535"/>
                  <a:gd name="T14" fmla="*/ 3478 w 3864"/>
                  <a:gd name="T15" fmla="*/ 15 h 535"/>
                  <a:gd name="T16" fmla="*/ 3638 w 3864"/>
                  <a:gd name="T17" fmla="*/ 15 h 535"/>
                  <a:gd name="T18" fmla="*/ 3737 w 3864"/>
                  <a:gd name="T19" fmla="*/ 32 h 535"/>
                  <a:gd name="T20" fmla="*/ 3824 w 3864"/>
                  <a:gd name="T21" fmla="*/ 55 h 535"/>
                  <a:gd name="T22" fmla="*/ 3864 w 3864"/>
                  <a:gd name="T23" fmla="*/ 85 h 535"/>
                  <a:gd name="T24" fmla="*/ 3864 w 3864"/>
                  <a:gd name="T25" fmla="*/ 377 h 535"/>
                  <a:gd name="T26" fmla="*/ 3830 w 3864"/>
                  <a:gd name="T27" fmla="*/ 412 h 535"/>
                  <a:gd name="T28" fmla="*/ 3790 w 3864"/>
                  <a:gd name="T29" fmla="*/ 429 h 535"/>
                  <a:gd name="T30" fmla="*/ 3737 w 3864"/>
                  <a:gd name="T31" fmla="*/ 435 h 535"/>
                  <a:gd name="T32" fmla="*/ 3551 w 3864"/>
                  <a:gd name="T33" fmla="*/ 444 h 535"/>
                  <a:gd name="T34" fmla="*/ 3085 w 3864"/>
                  <a:gd name="T35" fmla="*/ 457 h 535"/>
                  <a:gd name="T36" fmla="*/ 2639 w 3864"/>
                  <a:gd name="T37" fmla="*/ 489 h 535"/>
                  <a:gd name="T38" fmla="*/ 2546 w 3864"/>
                  <a:gd name="T39" fmla="*/ 489 h 535"/>
                  <a:gd name="T40" fmla="*/ 2506 w 3864"/>
                  <a:gd name="T41" fmla="*/ 520 h 535"/>
                  <a:gd name="T42" fmla="*/ 2459 w 3864"/>
                  <a:gd name="T43" fmla="*/ 535 h 535"/>
                  <a:gd name="T44" fmla="*/ 2160 w 3864"/>
                  <a:gd name="T45" fmla="*/ 497 h 535"/>
                  <a:gd name="T46" fmla="*/ 2039 w 3864"/>
                  <a:gd name="T47" fmla="*/ 497 h 535"/>
                  <a:gd name="T48" fmla="*/ 1733 w 3864"/>
                  <a:gd name="T49" fmla="*/ 520 h 535"/>
                  <a:gd name="T50" fmla="*/ 1625 w 3864"/>
                  <a:gd name="T51" fmla="*/ 525 h 535"/>
                  <a:gd name="T52" fmla="*/ 1585 w 3864"/>
                  <a:gd name="T53" fmla="*/ 527 h 535"/>
                  <a:gd name="T54" fmla="*/ 1547 w 3864"/>
                  <a:gd name="T55" fmla="*/ 520 h 535"/>
                  <a:gd name="T56" fmla="*/ 1520 w 3864"/>
                  <a:gd name="T57" fmla="*/ 474 h 535"/>
                  <a:gd name="T58" fmla="*/ 300 w 3864"/>
                  <a:gd name="T59" fmla="*/ 474 h 535"/>
                  <a:gd name="T60" fmla="*/ 236 w 3864"/>
                  <a:gd name="T61" fmla="*/ 465 h 535"/>
                  <a:gd name="T62" fmla="*/ 0 w 3864"/>
                  <a:gd name="T63" fmla="*/ 457 h 535"/>
                  <a:gd name="T64" fmla="*/ 1 w 3864"/>
                  <a:gd name="T65" fmla="*/ 415 h 5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64"/>
                  <a:gd name="T100" fmla="*/ 0 h 535"/>
                  <a:gd name="T101" fmla="*/ 3864 w 3864"/>
                  <a:gd name="T102" fmla="*/ 535 h 5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64" h="535">
                    <a:moveTo>
                      <a:pt x="1" y="415"/>
                    </a:moveTo>
                    <a:lnTo>
                      <a:pt x="468" y="218"/>
                    </a:lnTo>
                    <a:lnTo>
                      <a:pt x="615" y="157"/>
                    </a:lnTo>
                    <a:lnTo>
                      <a:pt x="739" y="55"/>
                    </a:lnTo>
                    <a:lnTo>
                      <a:pt x="821" y="0"/>
                    </a:lnTo>
                    <a:lnTo>
                      <a:pt x="1034" y="0"/>
                    </a:lnTo>
                    <a:lnTo>
                      <a:pt x="1094" y="8"/>
                    </a:lnTo>
                    <a:lnTo>
                      <a:pt x="3478" y="15"/>
                    </a:lnTo>
                    <a:lnTo>
                      <a:pt x="3638" y="15"/>
                    </a:lnTo>
                    <a:lnTo>
                      <a:pt x="3737" y="32"/>
                    </a:lnTo>
                    <a:lnTo>
                      <a:pt x="3824" y="55"/>
                    </a:lnTo>
                    <a:lnTo>
                      <a:pt x="3864" y="85"/>
                    </a:lnTo>
                    <a:lnTo>
                      <a:pt x="3864" y="377"/>
                    </a:lnTo>
                    <a:lnTo>
                      <a:pt x="3830" y="412"/>
                    </a:lnTo>
                    <a:lnTo>
                      <a:pt x="3790" y="429"/>
                    </a:lnTo>
                    <a:lnTo>
                      <a:pt x="3737" y="435"/>
                    </a:lnTo>
                    <a:lnTo>
                      <a:pt x="3551" y="444"/>
                    </a:lnTo>
                    <a:lnTo>
                      <a:pt x="3085" y="457"/>
                    </a:lnTo>
                    <a:lnTo>
                      <a:pt x="2639" y="489"/>
                    </a:lnTo>
                    <a:lnTo>
                      <a:pt x="2546" y="489"/>
                    </a:lnTo>
                    <a:lnTo>
                      <a:pt x="2506" y="520"/>
                    </a:lnTo>
                    <a:lnTo>
                      <a:pt x="2459" y="535"/>
                    </a:lnTo>
                    <a:lnTo>
                      <a:pt x="2160" y="497"/>
                    </a:lnTo>
                    <a:lnTo>
                      <a:pt x="2039" y="497"/>
                    </a:lnTo>
                    <a:lnTo>
                      <a:pt x="1733" y="520"/>
                    </a:lnTo>
                    <a:lnTo>
                      <a:pt x="1625" y="525"/>
                    </a:lnTo>
                    <a:lnTo>
                      <a:pt x="1585" y="527"/>
                    </a:lnTo>
                    <a:lnTo>
                      <a:pt x="1547" y="520"/>
                    </a:lnTo>
                    <a:lnTo>
                      <a:pt x="1520" y="474"/>
                    </a:lnTo>
                    <a:lnTo>
                      <a:pt x="300" y="474"/>
                    </a:lnTo>
                    <a:lnTo>
                      <a:pt x="236" y="465"/>
                    </a:lnTo>
                    <a:lnTo>
                      <a:pt x="0" y="457"/>
                    </a:lnTo>
                    <a:lnTo>
                      <a:pt x="1" y="415"/>
                    </a:lnTo>
                    <a:close/>
                  </a:path>
                </a:pathLst>
              </a:custGeom>
              <a:solidFill>
                <a:schemeClr val="accent1"/>
              </a:solidFill>
              <a:ln w="17526">
                <a:solidFill>
                  <a:srgbClr val="000000"/>
                </a:solidFill>
                <a:round/>
                <a:headEnd/>
                <a:tailEnd/>
              </a:ln>
            </p:spPr>
            <p:txBody>
              <a:bodyPr/>
              <a:lstStyle/>
              <a:p>
                <a:endParaRPr lang="en-US"/>
              </a:p>
            </p:txBody>
          </p:sp>
          <p:sp>
            <p:nvSpPr>
              <p:cNvPr id="94" name="Line 169"/>
              <p:cNvSpPr>
                <a:spLocks noChangeShapeType="1"/>
              </p:cNvSpPr>
              <p:nvPr/>
            </p:nvSpPr>
            <p:spPr bwMode="auto">
              <a:xfrm>
                <a:off x="4935" y="1883"/>
                <a:ext cx="1" cy="345"/>
              </a:xfrm>
              <a:prstGeom prst="line">
                <a:avLst/>
              </a:prstGeom>
              <a:noFill/>
              <a:ln w="17463">
                <a:solidFill>
                  <a:srgbClr val="000000"/>
                </a:solidFill>
                <a:round/>
                <a:headEnd/>
                <a:tailEnd/>
              </a:ln>
            </p:spPr>
            <p:txBody>
              <a:bodyPr/>
              <a:lstStyle/>
              <a:p>
                <a:endParaRPr lang="en-US"/>
              </a:p>
            </p:txBody>
          </p:sp>
        </p:grpSp>
        <p:sp>
          <p:nvSpPr>
            <p:cNvPr id="60" name="Freeform 170"/>
            <p:cNvSpPr>
              <a:spLocks/>
            </p:cNvSpPr>
            <p:nvPr/>
          </p:nvSpPr>
          <p:spPr bwMode="auto">
            <a:xfrm>
              <a:off x="4654" y="2252"/>
              <a:ext cx="240" cy="185"/>
            </a:xfrm>
            <a:custGeom>
              <a:avLst/>
              <a:gdLst>
                <a:gd name="T0" fmla="*/ 14 w 240"/>
                <a:gd name="T1" fmla="*/ 185 h 185"/>
                <a:gd name="T2" fmla="*/ 0 w 240"/>
                <a:gd name="T3" fmla="*/ 62 h 185"/>
                <a:gd name="T4" fmla="*/ 240 w 240"/>
                <a:gd name="T5" fmla="*/ 0 h 185"/>
                <a:gd name="T6" fmla="*/ 240 w 240"/>
                <a:gd name="T7" fmla="*/ 179 h 185"/>
                <a:gd name="T8" fmla="*/ 14 w 240"/>
                <a:gd name="T9" fmla="*/ 185 h 185"/>
                <a:gd name="T10" fmla="*/ 0 60000 65536"/>
                <a:gd name="T11" fmla="*/ 0 60000 65536"/>
                <a:gd name="T12" fmla="*/ 0 60000 65536"/>
                <a:gd name="T13" fmla="*/ 0 60000 65536"/>
                <a:gd name="T14" fmla="*/ 0 60000 65536"/>
                <a:gd name="T15" fmla="*/ 0 w 240"/>
                <a:gd name="T16" fmla="*/ 0 h 185"/>
                <a:gd name="T17" fmla="*/ 240 w 240"/>
                <a:gd name="T18" fmla="*/ 185 h 185"/>
              </a:gdLst>
              <a:ahLst/>
              <a:cxnLst>
                <a:cxn ang="T10">
                  <a:pos x="T0" y="T1"/>
                </a:cxn>
                <a:cxn ang="T11">
                  <a:pos x="T2" y="T3"/>
                </a:cxn>
                <a:cxn ang="T12">
                  <a:pos x="T4" y="T5"/>
                </a:cxn>
                <a:cxn ang="T13">
                  <a:pos x="T6" y="T7"/>
                </a:cxn>
                <a:cxn ang="T14">
                  <a:pos x="T8" y="T9"/>
                </a:cxn>
              </a:cxnLst>
              <a:rect l="T15" t="T16" r="T17" b="T18"/>
              <a:pathLst>
                <a:path w="240" h="185">
                  <a:moveTo>
                    <a:pt x="14" y="185"/>
                  </a:moveTo>
                  <a:lnTo>
                    <a:pt x="0" y="62"/>
                  </a:lnTo>
                  <a:lnTo>
                    <a:pt x="240" y="0"/>
                  </a:lnTo>
                  <a:lnTo>
                    <a:pt x="240" y="179"/>
                  </a:lnTo>
                  <a:lnTo>
                    <a:pt x="14" y="185"/>
                  </a:lnTo>
                  <a:close/>
                </a:path>
              </a:pathLst>
            </a:custGeom>
            <a:solidFill>
              <a:schemeClr val="accent1"/>
            </a:solidFill>
            <a:ln w="17526">
              <a:solidFill>
                <a:srgbClr val="000000"/>
              </a:solidFill>
              <a:round/>
              <a:headEnd/>
              <a:tailEnd/>
            </a:ln>
          </p:spPr>
          <p:txBody>
            <a:bodyPr/>
            <a:lstStyle/>
            <a:p>
              <a:endParaRPr lang="en-US"/>
            </a:p>
          </p:txBody>
        </p:sp>
        <p:grpSp>
          <p:nvGrpSpPr>
            <p:cNvPr id="61" name="Group 171"/>
            <p:cNvGrpSpPr>
              <a:grpSpLocks/>
            </p:cNvGrpSpPr>
            <p:nvPr/>
          </p:nvGrpSpPr>
          <p:grpSpPr bwMode="auto">
            <a:xfrm rot="-2741087">
              <a:off x="3801" y="2503"/>
              <a:ext cx="852" cy="354"/>
              <a:chOff x="3897" y="2263"/>
              <a:chExt cx="852" cy="354"/>
            </a:xfrm>
          </p:grpSpPr>
          <p:sp>
            <p:nvSpPr>
              <p:cNvPr id="89" name="Freeform 172"/>
              <p:cNvSpPr>
                <a:spLocks/>
              </p:cNvSpPr>
              <p:nvPr/>
            </p:nvSpPr>
            <p:spPr bwMode="auto">
              <a:xfrm>
                <a:off x="3897" y="2263"/>
                <a:ext cx="852" cy="340"/>
              </a:xfrm>
              <a:custGeom>
                <a:avLst/>
                <a:gdLst>
                  <a:gd name="T0" fmla="*/ 0 w 852"/>
                  <a:gd name="T1" fmla="*/ 32 h 340"/>
                  <a:gd name="T2" fmla="*/ 639 w 852"/>
                  <a:gd name="T3" fmla="*/ 340 h 340"/>
                  <a:gd name="T4" fmla="*/ 719 w 852"/>
                  <a:gd name="T5" fmla="*/ 317 h 340"/>
                  <a:gd name="T6" fmla="*/ 852 w 852"/>
                  <a:gd name="T7" fmla="*/ 279 h 340"/>
                  <a:gd name="T8" fmla="*/ 839 w 852"/>
                  <a:gd name="T9" fmla="*/ 0 h 340"/>
                  <a:gd name="T10" fmla="*/ 425 w 852"/>
                  <a:gd name="T11" fmla="*/ 0 h 340"/>
                  <a:gd name="T12" fmla="*/ 0 w 852"/>
                  <a:gd name="T13" fmla="*/ 32 h 340"/>
                  <a:gd name="T14" fmla="*/ 0 60000 65536"/>
                  <a:gd name="T15" fmla="*/ 0 60000 65536"/>
                  <a:gd name="T16" fmla="*/ 0 60000 65536"/>
                  <a:gd name="T17" fmla="*/ 0 60000 65536"/>
                  <a:gd name="T18" fmla="*/ 0 60000 65536"/>
                  <a:gd name="T19" fmla="*/ 0 60000 65536"/>
                  <a:gd name="T20" fmla="*/ 0 60000 65536"/>
                  <a:gd name="T21" fmla="*/ 0 w 852"/>
                  <a:gd name="T22" fmla="*/ 0 h 340"/>
                  <a:gd name="T23" fmla="*/ 852 w 852"/>
                  <a:gd name="T24" fmla="*/ 340 h 3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2" h="340">
                    <a:moveTo>
                      <a:pt x="0" y="32"/>
                    </a:moveTo>
                    <a:lnTo>
                      <a:pt x="639" y="340"/>
                    </a:lnTo>
                    <a:lnTo>
                      <a:pt x="719" y="317"/>
                    </a:lnTo>
                    <a:lnTo>
                      <a:pt x="852" y="279"/>
                    </a:lnTo>
                    <a:lnTo>
                      <a:pt x="839" y="0"/>
                    </a:lnTo>
                    <a:lnTo>
                      <a:pt x="425" y="0"/>
                    </a:lnTo>
                    <a:lnTo>
                      <a:pt x="0" y="32"/>
                    </a:lnTo>
                    <a:close/>
                  </a:path>
                </a:pathLst>
              </a:custGeom>
              <a:solidFill>
                <a:schemeClr val="bg2"/>
              </a:solidFill>
              <a:ln w="17526">
                <a:solidFill>
                  <a:srgbClr val="000000"/>
                </a:solidFill>
                <a:round/>
                <a:headEnd/>
                <a:tailEnd/>
              </a:ln>
            </p:spPr>
            <p:txBody>
              <a:bodyPr/>
              <a:lstStyle/>
              <a:p>
                <a:endParaRPr lang="en-US"/>
              </a:p>
            </p:txBody>
          </p:sp>
          <p:sp>
            <p:nvSpPr>
              <p:cNvPr id="90" name="Freeform 173"/>
              <p:cNvSpPr>
                <a:spLocks/>
              </p:cNvSpPr>
              <p:nvPr/>
            </p:nvSpPr>
            <p:spPr bwMode="auto">
              <a:xfrm>
                <a:off x="4090" y="2365"/>
                <a:ext cx="646" cy="70"/>
              </a:xfrm>
              <a:custGeom>
                <a:avLst/>
                <a:gdLst>
                  <a:gd name="T0" fmla="*/ 0 w 646"/>
                  <a:gd name="T1" fmla="*/ 15 h 70"/>
                  <a:gd name="T2" fmla="*/ 279 w 646"/>
                  <a:gd name="T3" fmla="*/ 0 h 70"/>
                  <a:gd name="T4" fmla="*/ 292 w 646"/>
                  <a:gd name="T5" fmla="*/ 70 h 70"/>
                  <a:gd name="T6" fmla="*/ 646 w 646"/>
                  <a:gd name="T7" fmla="*/ 23 h 70"/>
                  <a:gd name="T8" fmla="*/ 639 w 646"/>
                  <a:gd name="T9" fmla="*/ 23 h 70"/>
                  <a:gd name="T10" fmla="*/ 0 60000 65536"/>
                  <a:gd name="T11" fmla="*/ 0 60000 65536"/>
                  <a:gd name="T12" fmla="*/ 0 60000 65536"/>
                  <a:gd name="T13" fmla="*/ 0 60000 65536"/>
                  <a:gd name="T14" fmla="*/ 0 60000 65536"/>
                  <a:gd name="T15" fmla="*/ 0 w 646"/>
                  <a:gd name="T16" fmla="*/ 0 h 70"/>
                  <a:gd name="T17" fmla="*/ 646 w 646"/>
                  <a:gd name="T18" fmla="*/ 70 h 70"/>
                </a:gdLst>
                <a:ahLst/>
                <a:cxnLst>
                  <a:cxn ang="T10">
                    <a:pos x="T0" y="T1"/>
                  </a:cxn>
                  <a:cxn ang="T11">
                    <a:pos x="T2" y="T3"/>
                  </a:cxn>
                  <a:cxn ang="T12">
                    <a:pos x="T4" y="T5"/>
                  </a:cxn>
                  <a:cxn ang="T13">
                    <a:pos x="T6" y="T7"/>
                  </a:cxn>
                  <a:cxn ang="T14">
                    <a:pos x="T8" y="T9"/>
                  </a:cxn>
                </a:cxnLst>
                <a:rect l="T15" t="T16" r="T17" b="T18"/>
                <a:pathLst>
                  <a:path w="646" h="70">
                    <a:moveTo>
                      <a:pt x="0" y="15"/>
                    </a:moveTo>
                    <a:lnTo>
                      <a:pt x="279" y="0"/>
                    </a:lnTo>
                    <a:lnTo>
                      <a:pt x="292" y="70"/>
                    </a:lnTo>
                    <a:lnTo>
                      <a:pt x="646" y="23"/>
                    </a:lnTo>
                    <a:lnTo>
                      <a:pt x="639" y="23"/>
                    </a:lnTo>
                  </a:path>
                </a:pathLst>
              </a:custGeom>
              <a:noFill/>
              <a:ln w="17463">
                <a:solidFill>
                  <a:srgbClr val="000000"/>
                </a:solidFill>
                <a:round/>
                <a:headEnd/>
                <a:tailEnd/>
              </a:ln>
            </p:spPr>
            <p:txBody>
              <a:bodyPr/>
              <a:lstStyle/>
              <a:p>
                <a:endParaRPr lang="en-US"/>
              </a:p>
            </p:txBody>
          </p:sp>
          <p:sp>
            <p:nvSpPr>
              <p:cNvPr id="91" name="Line 174"/>
              <p:cNvSpPr>
                <a:spLocks noChangeShapeType="1"/>
              </p:cNvSpPr>
              <p:nvPr/>
            </p:nvSpPr>
            <p:spPr bwMode="auto">
              <a:xfrm>
                <a:off x="4508" y="2426"/>
                <a:ext cx="43" cy="191"/>
              </a:xfrm>
              <a:prstGeom prst="line">
                <a:avLst/>
              </a:prstGeom>
              <a:noFill/>
              <a:ln w="17463">
                <a:solidFill>
                  <a:srgbClr val="000000"/>
                </a:solidFill>
                <a:round/>
                <a:headEnd/>
                <a:tailEnd/>
              </a:ln>
            </p:spPr>
            <p:txBody>
              <a:bodyPr/>
              <a:lstStyle/>
              <a:p>
                <a:endParaRPr lang="en-US"/>
              </a:p>
            </p:txBody>
          </p:sp>
          <p:sp>
            <p:nvSpPr>
              <p:cNvPr id="92" name="Line 175"/>
              <p:cNvSpPr>
                <a:spLocks noChangeShapeType="1"/>
              </p:cNvSpPr>
              <p:nvPr/>
            </p:nvSpPr>
            <p:spPr bwMode="auto">
              <a:xfrm>
                <a:off x="4336" y="2270"/>
                <a:ext cx="1" cy="108"/>
              </a:xfrm>
              <a:prstGeom prst="line">
                <a:avLst/>
              </a:prstGeom>
              <a:noFill/>
              <a:ln w="17463">
                <a:solidFill>
                  <a:srgbClr val="000000"/>
                </a:solidFill>
                <a:round/>
                <a:headEnd/>
                <a:tailEnd/>
              </a:ln>
            </p:spPr>
            <p:txBody>
              <a:bodyPr/>
              <a:lstStyle/>
              <a:p>
                <a:endParaRPr lang="en-US"/>
              </a:p>
            </p:txBody>
          </p:sp>
        </p:grpSp>
        <p:sp>
          <p:nvSpPr>
            <p:cNvPr id="62" name="Freeform 176"/>
            <p:cNvSpPr>
              <a:spLocks/>
            </p:cNvSpPr>
            <p:nvPr/>
          </p:nvSpPr>
          <p:spPr bwMode="auto">
            <a:xfrm rot="-3634352">
              <a:off x="782" y="2324"/>
              <a:ext cx="97" cy="40"/>
            </a:xfrm>
            <a:custGeom>
              <a:avLst/>
              <a:gdLst>
                <a:gd name="T0" fmla="*/ 97 w 97"/>
                <a:gd name="T1" fmla="*/ 0 h 40"/>
                <a:gd name="T2" fmla="*/ 0 w 97"/>
                <a:gd name="T3" fmla="*/ 30 h 40"/>
                <a:gd name="T4" fmla="*/ 97 w 97"/>
                <a:gd name="T5" fmla="*/ 40 h 40"/>
                <a:gd name="T6" fmla="*/ 97 w 97"/>
                <a:gd name="T7" fmla="*/ 0 h 40"/>
                <a:gd name="T8" fmla="*/ 0 60000 65536"/>
                <a:gd name="T9" fmla="*/ 0 60000 65536"/>
                <a:gd name="T10" fmla="*/ 0 60000 65536"/>
                <a:gd name="T11" fmla="*/ 0 60000 65536"/>
                <a:gd name="T12" fmla="*/ 0 w 97"/>
                <a:gd name="T13" fmla="*/ 0 h 40"/>
                <a:gd name="T14" fmla="*/ 97 w 97"/>
                <a:gd name="T15" fmla="*/ 40 h 40"/>
              </a:gdLst>
              <a:ahLst/>
              <a:cxnLst>
                <a:cxn ang="T8">
                  <a:pos x="T0" y="T1"/>
                </a:cxn>
                <a:cxn ang="T9">
                  <a:pos x="T2" y="T3"/>
                </a:cxn>
                <a:cxn ang="T10">
                  <a:pos x="T4" y="T5"/>
                </a:cxn>
                <a:cxn ang="T11">
                  <a:pos x="T6" y="T7"/>
                </a:cxn>
              </a:cxnLst>
              <a:rect l="T12" t="T13" r="T14" b="T15"/>
              <a:pathLst>
                <a:path w="97" h="40">
                  <a:moveTo>
                    <a:pt x="97" y="0"/>
                  </a:moveTo>
                  <a:lnTo>
                    <a:pt x="0" y="30"/>
                  </a:lnTo>
                  <a:lnTo>
                    <a:pt x="97" y="40"/>
                  </a:lnTo>
                  <a:lnTo>
                    <a:pt x="97" y="0"/>
                  </a:lnTo>
                  <a:close/>
                </a:path>
              </a:pathLst>
            </a:custGeom>
            <a:solidFill>
              <a:srgbClr val="000000"/>
            </a:solidFill>
            <a:ln w="17463">
              <a:solidFill>
                <a:srgbClr val="000000"/>
              </a:solidFill>
              <a:round/>
              <a:headEnd/>
              <a:tailEnd/>
            </a:ln>
          </p:spPr>
          <p:txBody>
            <a:bodyPr/>
            <a:lstStyle/>
            <a:p>
              <a:endParaRPr lang="en-US"/>
            </a:p>
          </p:txBody>
        </p:sp>
        <p:sp>
          <p:nvSpPr>
            <p:cNvPr id="63" name="Freeform 177"/>
            <p:cNvSpPr>
              <a:spLocks/>
            </p:cNvSpPr>
            <p:nvPr/>
          </p:nvSpPr>
          <p:spPr bwMode="auto">
            <a:xfrm>
              <a:off x="2311" y="2261"/>
              <a:ext cx="199" cy="48"/>
            </a:xfrm>
            <a:custGeom>
              <a:avLst/>
              <a:gdLst>
                <a:gd name="T0" fmla="*/ 0 w 199"/>
                <a:gd name="T1" fmla="*/ 6 h 48"/>
                <a:gd name="T2" fmla="*/ 36 w 199"/>
                <a:gd name="T3" fmla="*/ 18 h 48"/>
                <a:gd name="T4" fmla="*/ 95 w 199"/>
                <a:gd name="T5" fmla="*/ 30 h 48"/>
                <a:gd name="T6" fmla="*/ 199 w 199"/>
                <a:gd name="T7" fmla="*/ 48 h 48"/>
                <a:gd name="T8" fmla="*/ 185 w 199"/>
                <a:gd name="T9" fmla="*/ 0 h 48"/>
                <a:gd name="T10" fmla="*/ 0 w 199"/>
                <a:gd name="T11" fmla="*/ 6 h 48"/>
                <a:gd name="T12" fmla="*/ 0 60000 65536"/>
                <a:gd name="T13" fmla="*/ 0 60000 65536"/>
                <a:gd name="T14" fmla="*/ 0 60000 65536"/>
                <a:gd name="T15" fmla="*/ 0 60000 65536"/>
                <a:gd name="T16" fmla="*/ 0 60000 65536"/>
                <a:gd name="T17" fmla="*/ 0 60000 65536"/>
                <a:gd name="T18" fmla="*/ 0 w 199"/>
                <a:gd name="T19" fmla="*/ 0 h 48"/>
                <a:gd name="T20" fmla="*/ 199 w 19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99" h="48">
                  <a:moveTo>
                    <a:pt x="0" y="6"/>
                  </a:moveTo>
                  <a:lnTo>
                    <a:pt x="36" y="18"/>
                  </a:lnTo>
                  <a:lnTo>
                    <a:pt x="95" y="30"/>
                  </a:lnTo>
                  <a:lnTo>
                    <a:pt x="199" y="48"/>
                  </a:lnTo>
                  <a:lnTo>
                    <a:pt x="185" y="0"/>
                  </a:lnTo>
                  <a:lnTo>
                    <a:pt x="0" y="6"/>
                  </a:lnTo>
                  <a:close/>
                </a:path>
              </a:pathLst>
            </a:custGeom>
            <a:solidFill>
              <a:schemeClr val="accent1"/>
            </a:solidFill>
            <a:ln w="17526">
              <a:solidFill>
                <a:srgbClr val="000000"/>
              </a:solidFill>
              <a:round/>
              <a:headEnd/>
              <a:tailEnd/>
            </a:ln>
          </p:spPr>
          <p:txBody>
            <a:bodyPr/>
            <a:lstStyle/>
            <a:p>
              <a:endParaRPr lang="en-US"/>
            </a:p>
          </p:txBody>
        </p:sp>
        <p:grpSp>
          <p:nvGrpSpPr>
            <p:cNvPr id="64" name="Group 178"/>
            <p:cNvGrpSpPr>
              <a:grpSpLocks/>
            </p:cNvGrpSpPr>
            <p:nvPr/>
          </p:nvGrpSpPr>
          <p:grpSpPr bwMode="auto">
            <a:xfrm rot="2667657">
              <a:off x="2931" y="775"/>
              <a:ext cx="1751" cy="625"/>
              <a:chOff x="3403" y="1199"/>
              <a:chExt cx="1751" cy="625"/>
            </a:xfrm>
          </p:grpSpPr>
          <p:sp>
            <p:nvSpPr>
              <p:cNvPr id="85" name="Freeform 179"/>
              <p:cNvSpPr>
                <a:spLocks/>
              </p:cNvSpPr>
              <p:nvPr/>
            </p:nvSpPr>
            <p:spPr bwMode="auto">
              <a:xfrm>
                <a:off x="3403" y="1199"/>
                <a:ext cx="1652" cy="625"/>
              </a:xfrm>
              <a:custGeom>
                <a:avLst/>
                <a:gdLst>
                  <a:gd name="T0" fmla="*/ 0 w 1652"/>
                  <a:gd name="T1" fmla="*/ 625 h 625"/>
                  <a:gd name="T2" fmla="*/ 680 w 1652"/>
                  <a:gd name="T3" fmla="*/ 447 h 625"/>
                  <a:gd name="T4" fmla="*/ 1326 w 1652"/>
                  <a:gd name="T5" fmla="*/ 93 h 625"/>
                  <a:gd name="T6" fmla="*/ 1406 w 1652"/>
                  <a:gd name="T7" fmla="*/ 30 h 625"/>
                  <a:gd name="T8" fmla="*/ 1461 w 1652"/>
                  <a:gd name="T9" fmla="*/ 6 h 625"/>
                  <a:gd name="T10" fmla="*/ 1518 w 1652"/>
                  <a:gd name="T11" fmla="*/ 0 h 625"/>
                  <a:gd name="T12" fmla="*/ 1598 w 1652"/>
                  <a:gd name="T13" fmla="*/ 30 h 625"/>
                  <a:gd name="T14" fmla="*/ 1645 w 1652"/>
                  <a:gd name="T15" fmla="*/ 61 h 625"/>
                  <a:gd name="T16" fmla="*/ 1652 w 1652"/>
                  <a:gd name="T17" fmla="*/ 121 h 625"/>
                  <a:gd name="T18" fmla="*/ 1632 w 1652"/>
                  <a:gd name="T19" fmla="*/ 121 h 625"/>
                  <a:gd name="T20" fmla="*/ 1605 w 1652"/>
                  <a:gd name="T21" fmla="*/ 510 h 625"/>
                  <a:gd name="T22" fmla="*/ 1319 w 1652"/>
                  <a:gd name="T23" fmla="*/ 517 h 625"/>
                  <a:gd name="T24" fmla="*/ 1299 w 1652"/>
                  <a:gd name="T25" fmla="*/ 625 h 625"/>
                  <a:gd name="T26" fmla="*/ 0 w 1652"/>
                  <a:gd name="T27" fmla="*/ 625 h 6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2"/>
                  <a:gd name="T43" fmla="*/ 0 h 625"/>
                  <a:gd name="T44" fmla="*/ 1652 w 1652"/>
                  <a:gd name="T45" fmla="*/ 625 h 6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2" h="625">
                    <a:moveTo>
                      <a:pt x="0" y="625"/>
                    </a:moveTo>
                    <a:lnTo>
                      <a:pt x="680" y="447"/>
                    </a:lnTo>
                    <a:lnTo>
                      <a:pt x="1326" y="93"/>
                    </a:lnTo>
                    <a:lnTo>
                      <a:pt x="1406" y="30"/>
                    </a:lnTo>
                    <a:lnTo>
                      <a:pt x="1461" y="6"/>
                    </a:lnTo>
                    <a:lnTo>
                      <a:pt x="1518" y="0"/>
                    </a:lnTo>
                    <a:lnTo>
                      <a:pt x="1598" y="30"/>
                    </a:lnTo>
                    <a:lnTo>
                      <a:pt x="1645" y="61"/>
                    </a:lnTo>
                    <a:lnTo>
                      <a:pt x="1652" y="121"/>
                    </a:lnTo>
                    <a:lnTo>
                      <a:pt x="1632" y="121"/>
                    </a:lnTo>
                    <a:lnTo>
                      <a:pt x="1605" y="510"/>
                    </a:lnTo>
                    <a:lnTo>
                      <a:pt x="1319" y="517"/>
                    </a:lnTo>
                    <a:lnTo>
                      <a:pt x="1299" y="625"/>
                    </a:lnTo>
                    <a:lnTo>
                      <a:pt x="0" y="625"/>
                    </a:lnTo>
                    <a:close/>
                  </a:path>
                </a:pathLst>
              </a:custGeom>
              <a:solidFill>
                <a:schemeClr val="accent1"/>
              </a:solidFill>
              <a:ln w="17526">
                <a:solidFill>
                  <a:srgbClr val="000000"/>
                </a:solidFill>
                <a:round/>
                <a:headEnd/>
                <a:tailEnd/>
              </a:ln>
            </p:spPr>
            <p:txBody>
              <a:bodyPr/>
              <a:lstStyle/>
              <a:p>
                <a:endParaRPr lang="en-US"/>
              </a:p>
            </p:txBody>
          </p:sp>
          <p:sp>
            <p:nvSpPr>
              <p:cNvPr id="86" name="Freeform 180"/>
              <p:cNvSpPr>
                <a:spLocks/>
              </p:cNvSpPr>
              <p:nvPr/>
            </p:nvSpPr>
            <p:spPr bwMode="auto">
              <a:xfrm>
                <a:off x="4462" y="1733"/>
                <a:ext cx="692" cy="83"/>
              </a:xfrm>
              <a:custGeom>
                <a:avLst/>
                <a:gdLst>
                  <a:gd name="T0" fmla="*/ 0 w 692"/>
                  <a:gd name="T1" fmla="*/ 23 h 83"/>
                  <a:gd name="T2" fmla="*/ 134 w 692"/>
                  <a:gd name="T3" fmla="*/ 6 h 83"/>
                  <a:gd name="T4" fmla="*/ 320 w 692"/>
                  <a:gd name="T5" fmla="*/ 0 h 83"/>
                  <a:gd name="T6" fmla="*/ 526 w 692"/>
                  <a:gd name="T7" fmla="*/ 6 h 83"/>
                  <a:gd name="T8" fmla="*/ 659 w 692"/>
                  <a:gd name="T9" fmla="*/ 23 h 83"/>
                  <a:gd name="T10" fmla="*/ 692 w 692"/>
                  <a:gd name="T11" fmla="*/ 30 h 83"/>
                  <a:gd name="T12" fmla="*/ 679 w 692"/>
                  <a:gd name="T13" fmla="*/ 46 h 83"/>
                  <a:gd name="T14" fmla="*/ 626 w 692"/>
                  <a:gd name="T15" fmla="*/ 60 h 83"/>
                  <a:gd name="T16" fmla="*/ 579 w 692"/>
                  <a:gd name="T17" fmla="*/ 68 h 83"/>
                  <a:gd name="T18" fmla="*/ 433 w 692"/>
                  <a:gd name="T19" fmla="*/ 83 h 83"/>
                  <a:gd name="T20" fmla="*/ 260 w 692"/>
                  <a:gd name="T21" fmla="*/ 75 h 83"/>
                  <a:gd name="T22" fmla="*/ 154 w 692"/>
                  <a:gd name="T23" fmla="*/ 63 h 83"/>
                  <a:gd name="T24" fmla="*/ 60 w 692"/>
                  <a:gd name="T25" fmla="*/ 46 h 83"/>
                  <a:gd name="T26" fmla="*/ 0 w 692"/>
                  <a:gd name="T27" fmla="*/ 23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2"/>
                  <a:gd name="T43" fmla="*/ 0 h 83"/>
                  <a:gd name="T44" fmla="*/ 692 w 692"/>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2" h="83">
                    <a:moveTo>
                      <a:pt x="0" y="23"/>
                    </a:moveTo>
                    <a:lnTo>
                      <a:pt x="134" y="6"/>
                    </a:lnTo>
                    <a:lnTo>
                      <a:pt x="320" y="0"/>
                    </a:lnTo>
                    <a:lnTo>
                      <a:pt x="526" y="6"/>
                    </a:lnTo>
                    <a:lnTo>
                      <a:pt x="659" y="23"/>
                    </a:lnTo>
                    <a:lnTo>
                      <a:pt x="692" y="30"/>
                    </a:lnTo>
                    <a:lnTo>
                      <a:pt x="679" y="46"/>
                    </a:lnTo>
                    <a:lnTo>
                      <a:pt x="626" y="60"/>
                    </a:lnTo>
                    <a:lnTo>
                      <a:pt x="579" y="68"/>
                    </a:lnTo>
                    <a:lnTo>
                      <a:pt x="433" y="83"/>
                    </a:lnTo>
                    <a:lnTo>
                      <a:pt x="260" y="75"/>
                    </a:lnTo>
                    <a:lnTo>
                      <a:pt x="154" y="63"/>
                    </a:lnTo>
                    <a:lnTo>
                      <a:pt x="60" y="46"/>
                    </a:lnTo>
                    <a:lnTo>
                      <a:pt x="0" y="23"/>
                    </a:lnTo>
                    <a:close/>
                  </a:path>
                </a:pathLst>
              </a:custGeom>
              <a:solidFill>
                <a:schemeClr val="accent1"/>
              </a:solidFill>
              <a:ln w="17526">
                <a:solidFill>
                  <a:srgbClr val="000000"/>
                </a:solidFill>
                <a:round/>
                <a:headEnd/>
                <a:tailEnd/>
              </a:ln>
            </p:spPr>
            <p:txBody>
              <a:bodyPr/>
              <a:lstStyle/>
              <a:p>
                <a:endParaRPr lang="en-US"/>
              </a:p>
            </p:txBody>
          </p:sp>
          <p:sp>
            <p:nvSpPr>
              <p:cNvPr id="87" name="Freeform 181"/>
              <p:cNvSpPr>
                <a:spLocks/>
              </p:cNvSpPr>
              <p:nvPr/>
            </p:nvSpPr>
            <p:spPr bwMode="auto">
              <a:xfrm>
                <a:off x="4721" y="1297"/>
                <a:ext cx="334" cy="23"/>
              </a:xfrm>
              <a:custGeom>
                <a:avLst/>
                <a:gdLst>
                  <a:gd name="T0" fmla="*/ 0 w 334"/>
                  <a:gd name="T1" fmla="*/ 0 h 23"/>
                  <a:gd name="T2" fmla="*/ 81 w 334"/>
                  <a:gd name="T3" fmla="*/ 23 h 23"/>
                  <a:gd name="T4" fmla="*/ 334 w 334"/>
                  <a:gd name="T5" fmla="*/ 23 h 23"/>
                  <a:gd name="T6" fmla="*/ 0 60000 65536"/>
                  <a:gd name="T7" fmla="*/ 0 60000 65536"/>
                  <a:gd name="T8" fmla="*/ 0 60000 65536"/>
                  <a:gd name="T9" fmla="*/ 0 w 334"/>
                  <a:gd name="T10" fmla="*/ 0 h 23"/>
                  <a:gd name="T11" fmla="*/ 334 w 334"/>
                  <a:gd name="T12" fmla="*/ 23 h 23"/>
                </a:gdLst>
                <a:ahLst/>
                <a:cxnLst>
                  <a:cxn ang="T6">
                    <a:pos x="T0" y="T1"/>
                  </a:cxn>
                  <a:cxn ang="T7">
                    <a:pos x="T2" y="T3"/>
                  </a:cxn>
                  <a:cxn ang="T8">
                    <a:pos x="T4" y="T5"/>
                  </a:cxn>
                </a:cxnLst>
                <a:rect l="T9" t="T10" r="T11" b="T12"/>
                <a:pathLst>
                  <a:path w="334" h="23">
                    <a:moveTo>
                      <a:pt x="0" y="0"/>
                    </a:moveTo>
                    <a:lnTo>
                      <a:pt x="81" y="23"/>
                    </a:lnTo>
                    <a:lnTo>
                      <a:pt x="334" y="23"/>
                    </a:lnTo>
                  </a:path>
                </a:pathLst>
              </a:custGeom>
              <a:noFill/>
              <a:ln w="17463">
                <a:solidFill>
                  <a:srgbClr val="000000"/>
                </a:solidFill>
                <a:round/>
                <a:headEnd/>
                <a:tailEnd/>
              </a:ln>
            </p:spPr>
            <p:txBody>
              <a:bodyPr/>
              <a:lstStyle/>
              <a:p>
                <a:endParaRPr lang="en-US"/>
              </a:p>
            </p:txBody>
          </p:sp>
          <p:sp>
            <p:nvSpPr>
              <p:cNvPr id="88" name="Line 182"/>
              <p:cNvSpPr>
                <a:spLocks noChangeShapeType="1"/>
              </p:cNvSpPr>
              <p:nvPr/>
            </p:nvSpPr>
            <p:spPr bwMode="auto">
              <a:xfrm>
                <a:off x="4149" y="1616"/>
                <a:ext cx="76" cy="106"/>
              </a:xfrm>
              <a:prstGeom prst="line">
                <a:avLst/>
              </a:prstGeom>
              <a:noFill/>
              <a:ln w="17463">
                <a:solidFill>
                  <a:srgbClr val="000000"/>
                </a:solidFill>
                <a:round/>
                <a:headEnd/>
                <a:tailEnd/>
              </a:ln>
            </p:spPr>
            <p:txBody>
              <a:bodyPr/>
              <a:lstStyle/>
              <a:p>
                <a:endParaRPr lang="en-US"/>
              </a:p>
            </p:txBody>
          </p:sp>
        </p:grpSp>
        <p:grpSp>
          <p:nvGrpSpPr>
            <p:cNvPr id="65" name="Group 183"/>
            <p:cNvGrpSpPr>
              <a:grpSpLocks/>
            </p:cNvGrpSpPr>
            <p:nvPr/>
          </p:nvGrpSpPr>
          <p:grpSpPr bwMode="auto">
            <a:xfrm>
              <a:off x="1550" y="1795"/>
              <a:ext cx="507" cy="167"/>
              <a:chOff x="1726" y="1811"/>
              <a:chExt cx="507" cy="167"/>
            </a:xfrm>
          </p:grpSpPr>
          <p:sp>
            <p:nvSpPr>
              <p:cNvPr id="83" name="Freeform 184"/>
              <p:cNvSpPr>
                <a:spLocks/>
              </p:cNvSpPr>
              <p:nvPr/>
            </p:nvSpPr>
            <p:spPr bwMode="auto">
              <a:xfrm>
                <a:off x="1726" y="1811"/>
                <a:ext cx="507" cy="167"/>
              </a:xfrm>
              <a:custGeom>
                <a:avLst/>
                <a:gdLst>
                  <a:gd name="T0" fmla="*/ 197 w 507"/>
                  <a:gd name="T1" fmla="*/ 0 h 167"/>
                  <a:gd name="T2" fmla="*/ 97 w 507"/>
                  <a:gd name="T3" fmla="*/ 67 h 167"/>
                  <a:gd name="T4" fmla="*/ 0 w 507"/>
                  <a:gd name="T5" fmla="*/ 150 h 167"/>
                  <a:gd name="T6" fmla="*/ 309 w 507"/>
                  <a:gd name="T7" fmla="*/ 167 h 167"/>
                  <a:gd name="T8" fmla="*/ 393 w 507"/>
                  <a:gd name="T9" fmla="*/ 152 h 167"/>
                  <a:gd name="T10" fmla="*/ 399 w 507"/>
                  <a:gd name="T11" fmla="*/ 152 h 167"/>
                  <a:gd name="T12" fmla="*/ 463 w 507"/>
                  <a:gd name="T13" fmla="*/ 137 h 167"/>
                  <a:gd name="T14" fmla="*/ 507 w 507"/>
                  <a:gd name="T15" fmla="*/ 18 h 167"/>
                  <a:gd name="T16" fmla="*/ 443 w 507"/>
                  <a:gd name="T17" fmla="*/ 8 h 167"/>
                  <a:gd name="T18" fmla="*/ 384 w 507"/>
                  <a:gd name="T19" fmla="*/ 0 h 167"/>
                  <a:gd name="T20" fmla="*/ 197 w 507"/>
                  <a:gd name="T21" fmla="*/ 0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7"/>
                  <a:gd name="T34" fmla="*/ 0 h 167"/>
                  <a:gd name="T35" fmla="*/ 507 w 507"/>
                  <a:gd name="T36" fmla="*/ 167 h 1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7" h="167">
                    <a:moveTo>
                      <a:pt x="197" y="0"/>
                    </a:moveTo>
                    <a:lnTo>
                      <a:pt x="97" y="67"/>
                    </a:lnTo>
                    <a:lnTo>
                      <a:pt x="0" y="150"/>
                    </a:lnTo>
                    <a:lnTo>
                      <a:pt x="309" y="167"/>
                    </a:lnTo>
                    <a:lnTo>
                      <a:pt x="393" y="152"/>
                    </a:lnTo>
                    <a:lnTo>
                      <a:pt x="399" y="152"/>
                    </a:lnTo>
                    <a:lnTo>
                      <a:pt x="463" y="137"/>
                    </a:lnTo>
                    <a:lnTo>
                      <a:pt x="507" y="18"/>
                    </a:lnTo>
                    <a:lnTo>
                      <a:pt x="443" y="8"/>
                    </a:lnTo>
                    <a:lnTo>
                      <a:pt x="384" y="0"/>
                    </a:lnTo>
                    <a:lnTo>
                      <a:pt x="197" y="0"/>
                    </a:lnTo>
                    <a:close/>
                  </a:path>
                </a:pathLst>
              </a:custGeom>
              <a:solidFill>
                <a:srgbClr val="96CCD3"/>
              </a:solidFill>
              <a:ln w="17526">
                <a:solidFill>
                  <a:srgbClr val="000000"/>
                </a:solidFill>
                <a:round/>
                <a:headEnd/>
                <a:tailEnd/>
              </a:ln>
            </p:spPr>
            <p:txBody>
              <a:bodyPr/>
              <a:lstStyle/>
              <a:p>
                <a:endParaRPr lang="en-US"/>
              </a:p>
            </p:txBody>
          </p:sp>
          <p:sp>
            <p:nvSpPr>
              <p:cNvPr id="84" name="Line 185"/>
              <p:cNvSpPr>
                <a:spLocks noChangeShapeType="1"/>
              </p:cNvSpPr>
              <p:nvPr/>
            </p:nvSpPr>
            <p:spPr bwMode="auto">
              <a:xfrm>
                <a:off x="2178" y="1826"/>
                <a:ext cx="1" cy="132"/>
              </a:xfrm>
              <a:prstGeom prst="line">
                <a:avLst/>
              </a:prstGeom>
              <a:noFill/>
              <a:ln w="17463">
                <a:solidFill>
                  <a:srgbClr val="000000"/>
                </a:solidFill>
                <a:round/>
                <a:headEnd/>
                <a:tailEnd/>
              </a:ln>
            </p:spPr>
            <p:txBody>
              <a:bodyPr/>
              <a:lstStyle/>
              <a:p>
                <a:endParaRPr lang="en-US"/>
              </a:p>
            </p:txBody>
          </p:sp>
        </p:grpSp>
        <p:sp>
          <p:nvSpPr>
            <p:cNvPr id="66" name="Line 186"/>
            <p:cNvSpPr>
              <a:spLocks noChangeShapeType="1"/>
            </p:cNvSpPr>
            <p:nvPr/>
          </p:nvSpPr>
          <p:spPr bwMode="auto">
            <a:xfrm>
              <a:off x="2486" y="2231"/>
              <a:ext cx="20" cy="76"/>
            </a:xfrm>
            <a:prstGeom prst="line">
              <a:avLst/>
            </a:prstGeom>
            <a:noFill/>
            <a:ln w="17463">
              <a:solidFill>
                <a:srgbClr val="000000"/>
              </a:solidFill>
              <a:round/>
              <a:headEnd/>
              <a:tailEnd/>
            </a:ln>
          </p:spPr>
          <p:txBody>
            <a:bodyPr/>
            <a:lstStyle/>
            <a:p>
              <a:endParaRPr lang="en-US"/>
            </a:p>
          </p:txBody>
        </p:sp>
        <p:sp>
          <p:nvSpPr>
            <p:cNvPr id="67" name="Freeform 187"/>
            <p:cNvSpPr>
              <a:spLocks/>
            </p:cNvSpPr>
            <p:nvPr/>
          </p:nvSpPr>
          <p:spPr bwMode="auto">
            <a:xfrm>
              <a:off x="4686" y="1392"/>
              <a:ext cx="230" cy="115"/>
            </a:xfrm>
            <a:custGeom>
              <a:avLst/>
              <a:gdLst>
                <a:gd name="T0" fmla="*/ 0 w 230"/>
                <a:gd name="T1" fmla="*/ 2 h 115"/>
                <a:gd name="T2" fmla="*/ 67 w 230"/>
                <a:gd name="T3" fmla="*/ 115 h 115"/>
                <a:gd name="T4" fmla="*/ 230 w 230"/>
                <a:gd name="T5" fmla="*/ 112 h 115"/>
                <a:gd name="T6" fmla="*/ 230 w 230"/>
                <a:gd name="T7" fmla="*/ 0 h 115"/>
                <a:gd name="T8" fmla="*/ 0 w 230"/>
                <a:gd name="T9" fmla="*/ 2 h 115"/>
                <a:gd name="T10" fmla="*/ 0 60000 65536"/>
                <a:gd name="T11" fmla="*/ 0 60000 65536"/>
                <a:gd name="T12" fmla="*/ 0 60000 65536"/>
                <a:gd name="T13" fmla="*/ 0 60000 65536"/>
                <a:gd name="T14" fmla="*/ 0 60000 65536"/>
                <a:gd name="T15" fmla="*/ 0 w 230"/>
                <a:gd name="T16" fmla="*/ 0 h 115"/>
                <a:gd name="T17" fmla="*/ 230 w 230"/>
                <a:gd name="T18" fmla="*/ 115 h 115"/>
              </a:gdLst>
              <a:ahLst/>
              <a:cxnLst>
                <a:cxn ang="T10">
                  <a:pos x="T0" y="T1"/>
                </a:cxn>
                <a:cxn ang="T11">
                  <a:pos x="T2" y="T3"/>
                </a:cxn>
                <a:cxn ang="T12">
                  <a:pos x="T4" y="T5"/>
                </a:cxn>
                <a:cxn ang="T13">
                  <a:pos x="T6" y="T7"/>
                </a:cxn>
                <a:cxn ang="T14">
                  <a:pos x="T8" y="T9"/>
                </a:cxn>
              </a:cxnLst>
              <a:rect l="T15" t="T16" r="T17" b="T18"/>
              <a:pathLst>
                <a:path w="230" h="115">
                  <a:moveTo>
                    <a:pt x="0" y="2"/>
                  </a:moveTo>
                  <a:lnTo>
                    <a:pt x="67" y="115"/>
                  </a:lnTo>
                  <a:lnTo>
                    <a:pt x="230" y="112"/>
                  </a:lnTo>
                  <a:lnTo>
                    <a:pt x="230" y="0"/>
                  </a:lnTo>
                  <a:lnTo>
                    <a:pt x="0" y="2"/>
                  </a:lnTo>
                  <a:close/>
                </a:path>
              </a:pathLst>
            </a:custGeom>
            <a:solidFill>
              <a:schemeClr val="accent1"/>
            </a:solidFill>
            <a:ln w="17526">
              <a:solidFill>
                <a:srgbClr val="000000"/>
              </a:solidFill>
              <a:round/>
              <a:headEnd/>
              <a:tailEnd/>
            </a:ln>
          </p:spPr>
          <p:txBody>
            <a:bodyPr/>
            <a:lstStyle/>
            <a:p>
              <a:endParaRPr lang="en-US"/>
            </a:p>
          </p:txBody>
        </p:sp>
        <p:grpSp>
          <p:nvGrpSpPr>
            <p:cNvPr id="68" name="Group 188"/>
            <p:cNvGrpSpPr>
              <a:grpSpLocks/>
            </p:cNvGrpSpPr>
            <p:nvPr/>
          </p:nvGrpSpPr>
          <p:grpSpPr bwMode="auto">
            <a:xfrm>
              <a:off x="2434" y="1959"/>
              <a:ext cx="93" cy="135"/>
              <a:chOff x="2602" y="1983"/>
              <a:chExt cx="93" cy="135"/>
            </a:xfrm>
          </p:grpSpPr>
          <p:sp>
            <p:nvSpPr>
              <p:cNvPr id="81" name="Rectangle 189"/>
              <p:cNvSpPr>
                <a:spLocks noChangeArrowheads="1"/>
              </p:cNvSpPr>
              <p:nvPr/>
            </p:nvSpPr>
            <p:spPr bwMode="auto">
              <a:xfrm>
                <a:off x="2607" y="1983"/>
                <a:ext cx="83" cy="135"/>
              </a:xfrm>
              <a:prstGeom prst="rect">
                <a:avLst/>
              </a:prstGeom>
              <a:solidFill>
                <a:schemeClr val="bg2"/>
              </a:solidFill>
              <a:ln w="17526">
                <a:solidFill>
                  <a:srgbClr val="000000"/>
                </a:solidFill>
                <a:miter lim="800000"/>
                <a:headEnd/>
                <a:tailEnd/>
              </a:ln>
            </p:spPr>
            <p:txBody>
              <a:bodyPr/>
              <a:lstStyle/>
              <a:p>
                <a:endParaRPr lang="en-US"/>
              </a:p>
            </p:txBody>
          </p:sp>
          <p:sp>
            <p:nvSpPr>
              <p:cNvPr id="82" name="Freeform 190"/>
              <p:cNvSpPr>
                <a:spLocks/>
              </p:cNvSpPr>
              <p:nvPr/>
            </p:nvSpPr>
            <p:spPr bwMode="auto">
              <a:xfrm>
                <a:off x="2602" y="2031"/>
                <a:ext cx="93" cy="32"/>
              </a:xfrm>
              <a:custGeom>
                <a:avLst/>
                <a:gdLst>
                  <a:gd name="T0" fmla="*/ 3 w 93"/>
                  <a:gd name="T1" fmla="*/ 0 h 32"/>
                  <a:gd name="T2" fmla="*/ 93 w 93"/>
                  <a:gd name="T3" fmla="*/ 0 h 32"/>
                  <a:gd name="T4" fmla="*/ 93 w 93"/>
                  <a:gd name="T5" fmla="*/ 32 h 32"/>
                  <a:gd name="T6" fmla="*/ 0 w 93"/>
                  <a:gd name="T7" fmla="*/ 32 h 32"/>
                  <a:gd name="T8" fmla="*/ 3 w 93"/>
                  <a:gd name="T9" fmla="*/ 0 h 32"/>
                  <a:gd name="T10" fmla="*/ 0 60000 65536"/>
                  <a:gd name="T11" fmla="*/ 0 60000 65536"/>
                  <a:gd name="T12" fmla="*/ 0 60000 65536"/>
                  <a:gd name="T13" fmla="*/ 0 60000 65536"/>
                  <a:gd name="T14" fmla="*/ 0 60000 65536"/>
                  <a:gd name="T15" fmla="*/ 0 w 93"/>
                  <a:gd name="T16" fmla="*/ 0 h 32"/>
                  <a:gd name="T17" fmla="*/ 93 w 93"/>
                  <a:gd name="T18" fmla="*/ 32 h 32"/>
                </a:gdLst>
                <a:ahLst/>
                <a:cxnLst>
                  <a:cxn ang="T10">
                    <a:pos x="T0" y="T1"/>
                  </a:cxn>
                  <a:cxn ang="T11">
                    <a:pos x="T2" y="T3"/>
                  </a:cxn>
                  <a:cxn ang="T12">
                    <a:pos x="T4" y="T5"/>
                  </a:cxn>
                  <a:cxn ang="T13">
                    <a:pos x="T6" y="T7"/>
                  </a:cxn>
                  <a:cxn ang="T14">
                    <a:pos x="T8" y="T9"/>
                  </a:cxn>
                </a:cxnLst>
                <a:rect l="T15" t="T16" r="T17" b="T18"/>
                <a:pathLst>
                  <a:path w="93" h="32">
                    <a:moveTo>
                      <a:pt x="3" y="0"/>
                    </a:moveTo>
                    <a:lnTo>
                      <a:pt x="93" y="0"/>
                    </a:lnTo>
                    <a:lnTo>
                      <a:pt x="93" y="32"/>
                    </a:lnTo>
                    <a:lnTo>
                      <a:pt x="0" y="32"/>
                    </a:lnTo>
                    <a:lnTo>
                      <a:pt x="3" y="0"/>
                    </a:lnTo>
                    <a:close/>
                  </a:path>
                </a:pathLst>
              </a:custGeom>
              <a:solidFill>
                <a:srgbClr val="000000"/>
              </a:solidFill>
              <a:ln w="17463">
                <a:solidFill>
                  <a:srgbClr val="000000"/>
                </a:solidFill>
                <a:round/>
                <a:headEnd/>
                <a:tailEnd/>
              </a:ln>
            </p:spPr>
            <p:txBody>
              <a:bodyPr/>
              <a:lstStyle/>
              <a:p>
                <a:endParaRPr lang="en-US"/>
              </a:p>
            </p:txBody>
          </p:sp>
        </p:grpSp>
        <p:grpSp>
          <p:nvGrpSpPr>
            <p:cNvPr id="69" name="Group 191"/>
            <p:cNvGrpSpPr>
              <a:grpSpLocks/>
            </p:cNvGrpSpPr>
            <p:nvPr/>
          </p:nvGrpSpPr>
          <p:grpSpPr bwMode="auto">
            <a:xfrm>
              <a:off x="3266" y="2668"/>
              <a:ext cx="339" cy="277"/>
              <a:chOff x="3290" y="1996"/>
              <a:chExt cx="339" cy="277"/>
            </a:xfrm>
          </p:grpSpPr>
          <p:sp>
            <p:nvSpPr>
              <p:cNvPr id="79" name="Freeform 192"/>
              <p:cNvSpPr>
                <a:spLocks/>
              </p:cNvSpPr>
              <p:nvPr/>
            </p:nvSpPr>
            <p:spPr bwMode="auto">
              <a:xfrm>
                <a:off x="3403" y="1996"/>
                <a:ext cx="206" cy="132"/>
              </a:xfrm>
              <a:custGeom>
                <a:avLst/>
                <a:gdLst>
                  <a:gd name="T0" fmla="*/ 0 w 206"/>
                  <a:gd name="T1" fmla="*/ 0 h 132"/>
                  <a:gd name="T2" fmla="*/ 0 w 206"/>
                  <a:gd name="T3" fmla="*/ 132 h 132"/>
                  <a:gd name="T4" fmla="*/ 206 w 206"/>
                  <a:gd name="T5" fmla="*/ 132 h 132"/>
                  <a:gd name="T6" fmla="*/ 99 w 206"/>
                  <a:gd name="T7" fmla="*/ 8 h 132"/>
                  <a:gd name="T8" fmla="*/ 0 w 206"/>
                  <a:gd name="T9" fmla="*/ 0 h 132"/>
                  <a:gd name="T10" fmla="*/ 0 60000 65536"/>
                  <a:gd name="T11" fmla="*/ 0 60000 65536"/>
                  <a:gd name="T12" fmla="*/ 0 60000 65536"/>
                  <a:gd name="T13" fmla="*/ 0 60000 65536"/>
                  <a:gd name="T14" fmla="*/ 0 60000 65536"/>
                  <a:gd name="T15" fmla="*/ 0 w 206"/>
                  <a:gd name="T16" fmla="*/ 0 h 132"/>
                  <a:gd name="T17" fmla="*/ 206 w 206"/>
                  <a:gd name="T18" fmla="*/ 132 h 132"/>
                </a:gdLst>
                <a:ahLst/>
                <a:cxnLst>
                  <a:cxn ang="T10">
                    <a:pos x="T0" y="T1"/>
                  </a:cxn>
                  <a:cxn ang="T11">
                    <a:pos x="T2" y="T3"/>
                  </a:cxn>
                  <a:cxn ang="T12">
                    <a:pos x="T4" y="T5"/>
                  </a:cxn>
                  <a:cxn ang="T13">
                    <a:pos x="T6" y="T7"/>
                  </a:cxn>
                  <a:cxn ang="T14">
                    <a:pos x="T8" y="T9"/>
                  </a:cxn>
                </a:cxnLst>
                <a:rect l="T15" t="T16" r="T17" b="T18"/>
                <a:pathLst>
                  <a:path w="206" h="132">
                    <a:moveTo>
                      <a:pt x="0" y="0"/>
                    </a:moveTo>
                    <a:lnTo>
                      <a:pt x="0" y="132"/>
                    </a:lnTo>
                    <a:lnTo>
                      <a:pt x="206" y="132"/>
                    </a:lnTo>
                    <a:lnTo>
                      <a:pt x="99" y="8"/>
                    </a:lnTo>
                    <a:lnTo>
                      <a:pt x="0" y="0"/>
                    </a:lnTo>
                    <a:close/>
                  </a:path>
                </a:pathLst>
              </a:custGeom>
              <a:solidFill>
                <a:schemeClr val="accent1"/>
              </a:solidFill>
              <a:ln w="17526">
                <a:solidFill>
                  <a:srgbClr val="000000"/>
                </a:solidFill>
                <a:round/>
                <a:headEnd/>
                <a:tailEnd/>
              </a:ln>
            </p:spPr>
            <p:txBody>
              <a:bodyPr/>
              <a:lstStyle/>
              <a:p>
                <a:endParaRPr lang="en-US"/>
              </a:p>
            </p:txBody>
          </p:sp>
          <p:sp>
            <p:nvSpPr>
              <p:cNvPr id="80" name="Freeform 193"/>
              <p:cNvSpPr>
                <a:spLocks/>
              </p:cNvSpPr>
              <p:nvPr/>
            </p:nvSpPr>
            <p:spPr bwMode="auto">
              <a:xfrm>
                <a:off x="3290" y="2128"/>
                <a:ext cx="339" cy="145"/>
              </a:xfrm>
              <a:custGeom>
                <a:avLst/>
                <a:gdLst>
                  <a:gd name="T0" fmla="*/ 113 w 339"/>
                  <a:gd name="T1" fmla="*/ 0 h 145"/>
                  <a:gd name="T2" fmla="*/ 326 w 339"/>
                  <a:gd name="T3" fmla="*/ 0 h 145"/>
                  <a:gd name="T4" fmla="*/ 339 w 339"/>
                  <a:gd name="T5" fmla="*/ 145 h 145"/>
                  <a:gd name="T6" fmla="*/ 68 w 339"/>
                  <a:gd name="T7" fmla="*/ 145 h 145"/>
                  <a:gd name="T8" fmla="*/ 0 w 339"/>
                  <a:gd name="T9" fmla="*/ 85 h 145"/>
                  <a:gd name="T10" fmla="*/ 113 w 339"/>
                  <a:gd name="T11" fmla="*/ 0 h 145"/>
                  <a:gd name="T12" fmla="*/ 0 60000 65536"/>
                  <a:gd name="T13" fmla="*/ 0 60000 65536"/>
                  <a:gd name="T14" fmla="*/ 0 60000 65536"/>
                  <a:gd name="T15" fmla="*/ 0 60000 65536"/>
                  <a:gd name="T16" fmla="*/ 0 60000 65536"/>
                  <a:gd name="T17" fmla="*/ 0 60000 65536"/>
                  <a:gd name="T18" fmla="*/ 0 w 339"/>
                  <a:gd name="T19" fmla="*/ 0 h 145"/>
                  <a:gd name="T20" fmla="*/ 339 w 339"/>
                  <a:gd name="T21" fmla="*/ 145 h 145"/>
                </a:gdLst>
                <a:ahLst/>
                <a:cxnLst>
                  <a:cxn ang="T12">
                    <a:pos x="T0" y="T1"/>
                  </a:cxn>
                  <a:cxn ang="T13">
                    <a:pos x="T2" y="T3"/>
                  </a:cxn>
                  <a:cxn ang="T14">
                    <a:pos x="T4" y="T5"/>
                  </a:cxn>
                  <a:cxn ang="T15">
                    <a:pos x="T6" y="T7"/>
                  </a:cxn>
                  <a:cxn ang="T16">
                    <a:pos x="T8" y="T9"/>
                  </a:cxn>
                  <a:cxn ang="T17">
                    <a:pos x="T10" y="T11"/>
                  </a:cxn>
                </a:cxnLst>
                <a:rect l="T18" t="T19" r="T20" b="T21"/>
                <a:pathLst>
                  <a:path w="339" h="145">
                    <a:moveTo>
                      <a:pt x="113" y="0"/>
                    </a:moveTo>
                    <a:lnTo>
                      <a:pt x="326" y="0"/>
                    </a:lnTo>
                    <a:lnTo>
                      <a:pt x="339" y="145"/>
                    </a:lnTo>
                    <a:lnTo>
                      <a:pt x="68" y="145"/>
                    </a:lnTo>
                    <a:lnTo>
                      <a:pt x="0" y="85"/>
                    </a:lnTo>
                    <a:lnTo>
                      <a:pt x="113" y="0"/>
                    </a:lnTo>
                    <a:close/>
                  </a:path>
                </a:pathLst>
              </a:custGeom>
              <a:solidFill>
                <a:schemeClr val="accent1"/>
              </a:solidFill>
              <a:ln w="17526">
                <a:solidFill>
                  <a:srgbClr val="000000"/>
                </a:solidFill>
                <a:round/>
                <a:headEnd/>
                <a:tailEnd/>
              </a:ln>
            </p:spPr>
            <p:txBody>
              <a:bodyPr/>
              <a:lstStyle/>
              <a:p>
                <a:endParaRPr lang="en-US"/>
              </a:p>
            </p:txBody>
          </p:sp>
        </p:grpSp>
        <p:sp>
          <p:nvSpPr>
            <p:cNvPr id="70" name="Line 194"/>
            <p:cNvSpPr>
              <a:spLocks noChangeShapeType="1"/>
            </p:cNvSpPr>
            <p:nvPr/>
          </p:nvSpPr>
          <p:spPr bwMode="auto">
            <a:xfrm>
              <a:off x="2094" y="1910"/>
              <a:ext cx="1" cy="302"/>
            </a:xfrm>
            <a:prstGeom prst="line">
              <a:avLst/>
            </a:prstGeom>
            <a:noFill/>
            <a:ln w="17463">
              <a:solidFill>
                <a:srgbClr val="000000"/>
              </a:solidFill>
              <a:round/>
              <a:headEnd/>
              <a:tailEnd/>
            </a:ln>
          </p:spPr>
          <p:txBody>
            <a:bodyPr/>
            <a:lstStyle/>
            <a:p>
              <a:endParaRPr lang="en-US"/>
            </a:p>
          </p:txBody>
        </p:sp>
        <p:sp>
          <p:nvSpPr>
            <p:cNvPr id="71" name="Freeform 195"/>
            <p:cNvSpPr>
              <a:spLocks/>
            </p:cNvSpPr>
            <p:nvPr/>
          </p:nvSpPr>
          <p:spPr bwMode="auto">
            <a:xfrm rot="999333">
              <a:off x="4401" y="2063"/>
              <a:ext cx="909" cy="53"/>
            </a:xfrm>
            <a:custGeom>
              <a:avLst/>
              <a:gdLst>
                <a:gd name="T0" fmla="*/ 41 w 909"/>
                <a:gd name="T1" fmla="*/ 0 h 53"/>
                <a:gd name="T2" fmla="*/ 909 w 909"/>
                <a:gd name="T3" fmla="*/ 1 h 53"/>
                <a:gd name="T4" fmla="*/ 907 w 909"/>
                <a:gd name="T5" fmla="*/ 51 h 53"/>
                <a:gd name="T6" fmla="*/ 36 w 909"/>
                <a:gd name="T7" fmla="*/ 53 h 53"/>
                <a:gd name="T8" fmla="*/ 15 w 909"/>
                <a:gd name="T9" fmla="*/ 46 h 53"/>
                <a:gd name="T10" fmla="*/ 0 w 909"/>
                <a:gd name="T11" fmla="*/ 30 h 53"/>
                <a:gd name="T12" fmla="*/ 9 w 909"/>
                <a:gd name="T13" fmla="*/ 1 h 53"/>
                <a:gd name="T14" fmla="*/ 41 w 909"/>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909"/>
                <a:gd name="T25" fmla="*/ 0 h 53"/>
                <a:gd name="T26" fmla="*/ 909 w 90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9" h="53">
                  <a:moveTo>
                    <a:pt x="41" y="0"/>
                  </a:moveTo>
                  <a:lnTo>
                    <a:pt x="909" y="1"/>
                  </a:lnTo>
                  <a:lnTo>
                    <a:pt x="907" y="51"/>
                  </a:lnTo>
                  <a:lnTo>
                    <a:pt x="36" y="53"/>
                  </a:lnTo>
                  <a:lnTo>
                    <a:pt x="15" y="46"/>
                  </a:lnTo>
                  <a:lnTo>
                    <a:pt x="0" y="30"/>
                  </a:lnTo>
                  <a:lnTo>
                    <a:pt x="9" y="1"/>
                  </a:lnTo>
                  <a:lnTo>
                    <a:pt x="41" y="0"/>
                  </a:lnTo>
                  <a:close/>
                </a:path>
              </a:pathLst>
            </a:custGeom>
            <a:solidFill>
              <a:schemeClr val="bg2"/>
            </a:solidFill>
            <a:ln w="17526">
              <a:solidFill>
                <a:srgbClr val="000000"/>
              </a:solidFill>
              <a:round/>
              <a:headEnd/>
              <a:tailEnd/>
            </a:ln>
          </p:spPr>
          <p:txBody>
            <a:bodyPr/>
            <a:lstStyle/>
            <a:p>
              <a:endParaRPr lang="en-US"/>
            </a:p>
          </p:txBody>
        </p:sp>
        <p:grpSp>
          <p:nvGrpSpPr>
            <p:cNvPr id="72" name="Group 196"/>
            <p:cNvGrpSpPr>
              <a:grpSpLocks/>
            </p:cNvGrpSpPr>
            <p:nvPr/>
          </p:nvGrpSpPr>
          <p:grpSpPr bwMode="auto">
            <a:xfrm>
              <a:off x="2106" y="2344"/>
              <a:ext cx="381" cy="86"/>
              <a:chOff x="2834" y="1968"/>
              <a:chExt cx="381" cy="86"/>
            </a:xfrm>
          </p:grpSpPr>
          <p:sp>
            <p:nvSpPr>
              <p:cNvPr id="77" name="Freeform 197"/>
              <p:cNvSpPr>
                <a:spLocks/>
              </p:cNvSpPr>
              <p:nvPr/>
            </p:nvSpPr>
            <p:spPr bwMode="auto">
              <a:xfrm>
                <a:off x="2834" y="1968"/>
                <a:ext cx="381" cy="81"/>
              </a:xfrm>
              <a:custGeom>
                <a:avLst/>
                <a:gdLst>
                  <a:gd name="T0" fmla="*/ 179 w 381"/>
                  <a:gd name="T1" fmla="*/ 0 h 81"/>
                  <a:gd name="T2" fmla="*/ 85 w 381"/>
                  <a:gd name="T3" fmla="*/ 0 h 81"/>
                  <a:gd name="T4" fmla="*/ 40 w 381"/>
                  <a:gd name="T5" fmla="*/ 5 h 81"/>
                  <a:gd name="T6" fmla="*/ 12 w 381"/>
                  <a:gd name="T7" fmla="*/ 16 h 81"/>
                  <a:gd name="T8" fmla="*/ 0 w 381"/>
                  <a:gd name="T9" fmla="*/ 36 h 81"/>
                  <a:gd name="T10" fmla="*/ 7 w 381"/>
                  <a:gd name="T11" fmla="*/ 61 h 81"/>
                  <a:gd name="T12" fmla="*/ 24 w 381"/>
                  <a:gd name="T13" fmla="*/ 68 h 81"/>
                  <a:gd name="T14" fmla="*/ 44 w 381"/>
                  <a:gd name="T15" fmla="*/ 73 h 81"/>
                  <a:gd name="T16" fmla="*/ 85 w 381"/>
                  <a:gd name="T17" fmla="*/ 81 h 81"/>
                  <a:gd name="T18" fmla="*/ 139 w 381"/>
                  <a:gd name="T19" fmla="*/ 81 h 81"/>
                  <a:gd name="T20" fmla="*/ 199 w 381"/>
                  <a:gd name="T21" fmla="*/ 76 h 81"/>
                  <a:gd name="T22" fmla="*/ 312 w 381"/>
                  <a:gd name="T23" fmla="*/ 63 h 81"/>
                  <a:gd name="T24" fmla="*/ 381 w 381"/>
                  <a:gd name="T25" fmla="*/ 53 h 81"/>
                  <a:gd name="T26" fmla="*/ 381 w 381"/>
                  <a:gd name="T27" fmla="*/ 28 h 81"/>
                  <a:gd name="T28" fmla="*/ 300 w 381"/>
                  <a:gd name="T29" fmla="*/ 16 h 81"/>
                  <a:gd name="T30" fmla="*/ 235 w 381"/>
                  <a:gd name="T31" fmla="*/ 8 h 81"/>
                  <a:gd name="T32" fmla="*/ 179 w 38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1"/>
                  <a:gd name="T52" fmla="*/ 0 h 81"/>
                  <a:gd name="T53" fmla="*/ 381 w 38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1" h="81">
                    <a:moveTo>
                      <a:pt x="179" y="0"/>
                    </a:moveTo>
                    <a:lnTo>
                      <a:pt x="85" y="0"/>
                    </a:lnTo>
                    <a:lnTo>
                      <a:pt x="40" y="5"/>
                    </a:lnTo>
                    <a:lnTo>
                      <a:pt x="12" y="16"/>
                    </a:lnTo>
                    <a:lnTo>
                      <a:pt x="0" y="36"/>
                    </a:lnTo>
                    <a:lnTo>
                      <a:pt x="7" y="61"/>
                    </a:lnTo>
                    <a:lnTo>
                      <a:pt x="24" y="68"/>
                    </a:lnTo>
                    <a:lnTo>
                      <a:pt x="44" y="73"/>
                    </a:lnTo>
                    <a:lnTo>
                      <a:pt x="85" y="81"/>
                    </a:lnTo>
                    <a:lnTo>
                      <a:pt x="139" y="81"/>
                    </a:lnTo>
                    <a:lnTo>
                      <a:pt x="199" y="76"/>
                    </a:lnTo>
                    <a:lnTo>
                      <a:pt x="312" y="63"/>
                    </a:lnTo>
                    <a:lnTo>
                      <a:pt x="381" y="53"/>
                    </a:lnTo>
                    <a:lnTo>
                      <a:pt x="381" y="28"/>
                    </a:lnTo>
                    <a:lnTo>
                      <a:pt x="300" y="16"/>
                    </a:lnTo>
                    <a:lnTo>
                      <a:pt x="235" y="8"/>
                    </a:lnTo>
                    <a:lnTo>
                      <a:pt x="179" y="0"/>
                    </a:lnTo>
                    <a:close/>
                  </a:path>
                </a:pathLst>
              </a:custGeom>
              <a:solidFill>
                <a:schemeClr val="bg2"/>
              </a:solidFill>
              <a:ln w="17526">
                <a:solidFill>
                  <a:srgbClr val="000000"/>
                </a:solidFill>
                <a:round/>
                <a:headEnd/>
                <a:tailEnd/>
              </a:ln>
            </p:spPr>
            <p:txBody>
              <a:bodyPr/>
              <a:lstStyle/>
              <a:p>
                <a:endParaRPr lang="en-US"/>
              </a:p>
            </p:txBody>
          </p:sp>
          <p:sp>
            <p:nvSpPr>
              <p:cNvPr id="78" name="Line 198"/>
              <p:cNvSpPr>
                <a:spLocks noChangeShapeType="1"/>
              </p:cNvSpPr>
              <p:nvPr/>
            </p:nvSpPr>
            <p:spPr bwMode="auto">
              <a:xfrm>
                <a:off x="2876" y="1973"/>
                <a:ext cx="1" cy="81"/>
              </a:xfrm>
              <a:prstGeom prst="line">
                <a:avLst/>
              </a:prstGeom>
              <a:noFill/>
              <a:ln w="17463">
                <a:solidFill>
                  <a:srgbClr val="000000"/>
                </a:solidFill>
                <a:round/>
                <a:headEnd/>
                <a:tailEnd/>
              </a:ln>
            </p:spPr>
            <p:txBody>
              <a:bodyPr/>
              <a:lstStyle/>
              <a:p>
                <a:endParaRPr lang="en-US"/>
              </a:p>
            </p:txBody>
          </p:sp>
        </p:grpSp>
        <p:sp>
          <p:nvSpPr>
            <p:cNvPr id="73" name="Freeform 199"/>
            <p:cNvSpPr>
              <a:spLocks/>
            </p:cNvSpPr>
            <p:nvPr/>
          </p:nvSpPr>
          <p:spPr bwMode="auto">
            <a:xfrm>
              <a:off x="2318" y="2456"/>
              <a:ext cx="1219" cy="156"/>
            </a:xfrm>
            <a:custGeom>
              <a:avLst/>
              <a:gdLst>
                <a:gd name="T0" fmla="*/ 0 w 1219"/>
                <a:gd name="T1" fmla="*/ 38 h 156"/>
                <a:gd name="T2" fmla="*/ 84 w 1219"/>
                <a:gd name="T3" fmla="*/ 23 h 156"/>
                <a:gd name="T4" fmla="*/ 165 w 1219"/>
                <a:gd name="T5" fmla="*/ 11 h 156"/>
                <a:gd name="T6" fmla="*/ 319 w 1219"/>
                <a:gd name="T7" fmla="*/ 0 h 156"/>
                <a:gd name="T8" fmla="*/ 625 w 1219"/>
                <a:gd name="T9" fmla="*/ 0 h 156"/>
                <a:gd name="T10" fmla="*/ 760 w 1219"/>
                <a:gd name="T11" fmla="*/ 15 h 156"/>
                <a:gd name="T12" fmla="*/ 832 w 1219"/>
                <a:gd name="T13" fmla="*/ 23 h 156"/>
                <a:gd name="T14" fmla="*/ 910 w 1219"/>
                <a:gd name="T15" fmla="*/ 36 h 156"/>
                <a:gd name="T16" fmla="*/ 964 w 1219"/>
                <a:gd name="T17" fmla="*/ 51 h 156"/>
                <a:gd name="T18" fmla="*/ 1040 w 1219"/>
                <a:gd name="T19" fmla="*/ 71 h 156"/>
                <a:gd name="T20" fmla="*/ 1151 w 1219"/>
                <a:gd name="T21" fmla="*/ 101 h 156"/>
                <a:gd name="T22" fmla="*/ 1219 w 1219"/>
                <a:gd name="T23" fmla="*/ 133 h 156"/>
                <a:gd name="T24" fmla="*/ 1164 w 1219"/>
                <a:gd name="T25" fmla="*/ 141 h 156"/>
                <a:gd name="T26" fmla="*/ 1104 w 1219"/>
                <a:gd name="T27" fmla="*/ 148 h 156"/>
                <a:gd name="T28" fmla="*/ 1011 w 1219"/>
                <a:gd name="T29" fmla="*/ 153 h 156"/>
                <a:gd name="T30" fmla="*/ 931 w 1219"/>
                <a:gd name="T31" fmla="*/ 156 h 156"/>
                <a:gd name="T32" fmla="*/ 760 w 1219"/>
                <a:gd name="T33" fmla="*/ 156 h 156"/>
                <a:gd name="T34" fmla="*/ 559 w 1219"/>
                <a:gd name="T35" fmla="*/ 148 h 156"/>
                <a:gd name="T36" fmla="*/ 391 w 1219"/>
                <a:gd name="T37" fmla="*/ 136 h 156"/>
                <a:gd name="T38" fmla="*/ 275 w 1219"/>
                <a:gd name="T39" fmla="*/ 123 h 156"/>
                <a:gd name="T40" fmla="*/ 189 w 1219"/>
                <a:gd name="T41" fmla="*/ 105 h 156"/>
                <a:gd name="T42" fmla="*/ 100 w 1219"/>
                <a:gd name="T43" fmla="*/ 86 h 156"/>
                <a:gd name="T44" fmla="*/ 33 w 1219"/>
                <a:gd name="T45" fmla="*/ 63 h 156"/>
                <a:gd name="T46" fmla="*/ 0 w 1219"/>
                <a:gd name="T47" fmla="*/ 38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9"/>
                <a:gd name="T73" fmla="*/ 0 h 156"/>
                <a:gd name="T74" fmla="*/ 1219 w 121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9" h="156">
                  <a:moveTo>
                    <a:pt x="0" y="38"/>
                  </a:moveTo>
                  <a:lnTo>
                    <a:pt x="84" y="23"/>
                  </a:lnTo>
                  <a:lnTo>
                    <a:pt x="165" y="11"/>
                  </a:lnTo>
                  <a:lnTo>
                    <a:pt x="319" y="0"/>
                  </a:lnTo>
                  <a:lnTo>
                    <a:pt x="625" y="0"/>
                  </a:lnTo>
                  <a:lnTo>
                    <a:pt x="760" y="15"/>
                  </a:lnTo>
                  <a:lnTo>
                    <a:pt x="832" y="23"/>
                  </a:lnTo>
                  <a:lnTo>
                    <a:pt x="910" y="36"/>
                  </a:lnTo>
                  <a:lnTo>
                    <a:pt x="964" y="51"/>
                  </a:lnTo>
                  <a:lnTo>
                    <a:pt x="1040" y="71"/>
                  </a:lnTo>
                  <a:lnTo>
                    <a:pt x="1151" y="101"/>
                  </a:lnTo>
                  <a:lnTo>
                    <a:pt x="1219" y="133"/>
                  </a:lnTo>
                  <a:lnTo>
                    <a:pt x="1164" y="141"/>
                  </a:lnTo>
                  <a:lnTo>
                    <a:pt x="1104" y="148"/>
                  </a:lnTo>
                  <a:lnTo>
                    <a:pt x="1011" y="153"/>
                  </a:lnTo>
                  <a:lnTo>
                    <a:pt x="931" y="156"/>
                  </a:lnTo>
                  <a:lnTo>
                    <a:pt x="760" y="156"/>
                  </a:lnTo>
                  <a:lnTo>
                    <a:pt x="559" y="148"/>
                  </a:lnTo>
                  <a:lnTo>
                    <a:pt x="391" y="136"/>
                  </a:lnTo>
                  <a:lnTo>
                    <a:pt x="275" y="123"/>
                  </a:lnTo>
                  <a:lnTo>
                    <a:pt x="189" y="105"/>
                  </a:lnTo>
                  <a:lnTo>
                    <a:pt x="100" y="86"/>
                  </a:lnTo>
                  <a:lnTo>
                    <a:pt x="33" y="63"/>
                  </a:lnTo>
                  <a:lnTo>
                    <a:pt x="0" y="38"/>
                  </a:lnTo>
                  <a:close/>
                </a:path>
              </a:pathLst>
            </a:custGeom>
            <a:solidFill>
              <a:schemeClr val="accent1"/>
            </a:solidFill>
            <a:ln w="17526">
              <a:solidFill>
                <a:srgbClr val="000000"/>
              </a:solidFill>
              <a:round/>
              <a:headEnd/>
              <a:tailEnd/>
            </a:ln>
          </p:spPr>
          <p:txBody>
            <a:bodyPr/>
            <a:lstStyle/>
            <a:p>
              <a:endParaRPr lang="en-US"/>
            </a:p>
          </p:txBody>
        </p:sp>
        <p:grpSp>
          <p:nvGrpSpPr>
            <p:cNvPr id="74" name="Group 200"/>
            <p:cNvGrpSpPr>
              <a:grpSpLocks/>
            </p:cNvGrpSpPr>
            <p:nvPr/>
          </p:nvGrpSpPr>
          <p:grpSpPr bwMode="auto">
            <a:xfrm>
              <a:off x="1483" y="1802"/>
              <a:ext cx="574" cy="459"/>
              <a:chOff x="1651" y="1826"/>
              <a:chExt cx="574" cy="459"/>
            </a:xfrm>
          </p:grpSpPr>
          <p:sp>
            <p:nvSpPr>
              <p:cNvPr id="75" name="Freeform 201"/>
              <p:cNvSpPr>
                <a:spLocks/>
              </p:cNvSpPr>
              <p:nvPr/>
            </p:nvSpPr>
            <p:spPr bwMode="auto">
              <a:xfrm>
                <a:off x="1651" y="1826"/>
                <a:ext cx="574" cy="459"/>
              </a:xfrm>
              <a:custGeom>
                <a:avLst/>
                <a:gdLst>
                  <a:gd name="T0" fmla="*/ 574 w 574"/>
                  <a:gd name="T1" fmla="*/ 0 h 459"/>
                  <a:gd name="T2" fmla="*/ 428 w 574"/>
                  <a:gd name="T3" fmla="*/ 397 h 459"/>
                  <a:gd name="T4" fmla="*/ 0 w 574"/>
                  <a:gd name="T5" fmla="*/ 397 h 459"/>
                  <a:gd name="T6" fmla="*/ 0 w 574"/>
                  <a:gd name="T7" fmla="*/ 459 h 459"/>
                  <a:gd name="T8" fmla="*/ 0 60000 65536"/>
                  <a:gd name="T9" fmla="*/ 0 60000 65536"/>
                  <a:gd name="T10" fmla="*/ 0 60000 65536"/>
                  <a:gd name="T11" fmla="*/ 0 60000 65536"/>
                  <a:gd name="T12" fmla="*/ 0 w 574"/>
                  <a:gd name="T13" fmla="*/ 0 h 459"/>
                  <a:gd name="T14" fmla="*/ 574 w 574"/>
                  <a:gd name="T15" fmla="*/ 459 h 459"/>
                </a:gdLst>
                <a:ahLst/>
                <a:cxnLst>
                  <a:cxn ang="T8">
                    <a:pos x="T0" y="T1"/>
                  </a:cxn>
                  <a:cxn ang="T9">
                    <a:pos x="T2" y="T3"/>
                  </a:cxn>
                  <a:cxn ang="T10">
                    <a:pos x="T4" y="T5"/>
                  </a:cxn>
                  <a:cxn ang="T11">
                    <a:pos x="T6" y="T7"/>
                  </a:cxn>
                </a:cxnLst>
                <a:rect l="T12" t="T13" r="T14" b="T15"/>
                <a:pathLst>
                  <a:path w="574" h="459">
                    <a:moveTo>
                      <a:pt x="574" y="0"/>
                    </a:moveTo>
                    <a:lnTo>
                      <a:pt x="428" y="397"/>
                    </a:lnTo>
                    <a:lnTo>
                      <a:pt x="0" y="397"/>
                    </a:lnTo>
                    <a:lnTo>
                      <a:pt x="0" y="459"/>
                    </a:lnTo>
                  </a:path>
                </a:pathLst>
              </a:custGeom>
              <a:noFill/>
              <a:ln w="17463">
                <a:solidFill>
                  <a:srgbClr val="000000"/>
                </a:solidFill>
                <a:round/>
                <a:headEnd/>
                <a:tailEnd/>
              </a:ln>
            </p:spPr>
            <p:txBody>
              <a:bodyPr/>
              <a:lstStyle/>
              <a:p>
                <a:endParaRPr lang="en-US"/>
              </a:p>
            </p:txBody>
          </p:sp>
          <p:sp>
            <p:nvSpPr>
              <p:cNvPr id="76" name="Line 202"/>
              <p:cNvSpPr>
                <a:spLocks noChangeShapeType="1"/>
              </p:cNvSpPr>
              <p:nvPr/>
            </p:nvSpPr>
            <p:spPr bwMode="auto">
              <a:xfrm>
                <a:off x="1724" y="1966"/>
                <a:ext cx="1" cy="262"/>
              </a:xfrm>
              <a:prstGeom prst="line">
                <a:avLst/>
              </a:prstGeom>
              <a:noFill/>
              <a:ln w="17463">
                <a:solidFill>
                  <a:srgbClr val="000000"/>
                </a:solidFill>
                <a:round/>
                <a:headEnd/>
                <a:tailEnd/>
              </a:ln>
            </p:spPr>
            <p:txBody>
              <a:bodyPr/>
              <a:lstStyle/>
              <a:p>
                <a:endParaRPr lang="en-US"/>
              </a:p>
            </p:txBody>
          </p:sp>
        </p:grpSp>
      </p:grpSp>
      <p:sp>
        <p:nvSpPr>
          <p:cNvPr id="95" name="Rectangle 47"/>
          <p:cNvSpPr>
            <a:spLocks noChangeArrowheads="1"/>
          </p:cNvSpPr>
          <p:nvPr/>
        </p:nvSpPr>
        <p:spPr bwMode="auto">
          <a:xfrm>
            <a:off x="518160" y="5925503"/>
            <a:ext cx="5897880" cy="400110"/>
          </a:xfrm>
          <a:prstGeom prst="rect">
            <a:avLst/>
          </a:prstGeom>
          <a:noFill/>
          <a:ln w="12700">
            <a:noFill/>
            <a:prstDash val="dash"/>
            <a:miter lim="800000"/>
            <a:headEnd/>
            <a:tailEnd/>
          </a:ln>
        </p:spPr>
        <p:txBody>
          <a:bodyPr wrap="square">
            <a:spAutoFit/>
          </a:bodyPr>
          <a:lstStyle/>
          <a:p>
            <a:pPr eaLnBrk="1" hangingPunct="1"/>
            <a:r>
              <a:rPr lang="en-US" sz="2000" dirty="0">
                <a:latin typeface="Arial" pitchFamily="34" charset="0"/>
              </a:rPr>
              <a:t>But can we afford to correct after it has crashed?</a:t>
            </a:r>
          </a:p>
        </p:txBody>
      </p:sp>
      <p:sp>
        <p:nvSpPr>
          <p:cNvPr id="96" name="Rectangle 208"/>
          <p:cNvSpPr>
            <a:spLocks noChangeArrowheads="1"/>
          </p:cNvSpPr>
          <p:nvPr/>
        </p:nvSpPr>
        <p:spPr bwMode="auto">
          <a:xfrm>
            <a:off x="7265988" y="1419542"/>
            <a:ext cx="2015172" cy="877163"/>
          </a:xfrm>
          <a:prstGeom prst="rect">
            <a:avLst/>
          </a:prstGeom>
          <a:solidFill>
            <a:srgbClr val="D0DDF0"/>
          </a:solidFill>
          <a:ln w="12700">
            <a:solidFill>
              <a:schemeClr val="tx1"/>
            </a:solidFill>
            <a:prstDash val="dash"/>
            <a:miter lim="800000"/>
            <a:headEnd/>
            <a:tailEnd/>
          </a:ln>
        </p:spPr>
        <p:txBody>
          <a:bodyPr wrap="square">
            <a:spAutoFit/>
          </a:bodyPr>
          <a:lstStyle/>
          <a:p>
            <a:pPr>
              <a:lnSpc>
                <a:spcPct val="85000"/>
              </a:lnSpc>
              <a:spcBef>
                <a:spcPct val="50000"/>
              </a:spcBef>
            </a:pPr>
            <a:r>
              <a:rPr lang="en-US" sz="2000" dirty="0">
                <a:latin typeface="Arial" charset="0"/>
              </a:rPr>
              <a:t>Doing it Right, the First Time and Every Time</a:t>
            </a:r>
            <a:endParaRPr lang="en-US" sz="2000" dirty="0"/>
          </a:p>
        </p:txBody>
      </p:sp>
      <p:sp>
        <p:nvSpPr>
          <p:cNvPr id="98" name="Title 1"/>
          <p:cNvSpPr>
            <a:spLocks noGrp="1"/>
          </p:cNvSpPr>
          <p:nvPr>
            <p:ph type="title"/>
          </p:nvPr>
        </p:nvSpPr>
        <p:spPr>
          <a:xfrm>
            <a:off x="495300" y="274638"/>
            <a:ext cx="8915400" cy="778098"/>
          </a:xfrm>
        </p:spPr>
        <p:txBody>
          <a:bodyPr>
            <a:normAutofit/>
          </a:bodyPr>
          <a:lstStyle/>
          <a:p>
            <a:pPr>
              <a:spcAft>
                <a:spcPts val="600"/>
              </a:spcAft>
              <a:defRPr/>
            </a:pPr>
            <a:r>
              <a:rPr lang="en-US" sz="2400" dirty="0" smtClean="0"/>
              <a:t>Why Quality is important Contd..</a:t>
            </a:r>
            <a:endParaRPr lang="en-US" sz="2400" dirty="0" smtClean="0">
              <a:solidFill>
                <a:schemeClr val="tx1"/>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blinds(horizontal)">
                                      <p:cBhvr>
                                        <p:cTn id="10" dur="50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blinds(horizontal)">
                                      <p:cBhvr>
                                        <p:cTn id="15" dur="500"/>
                                        <p:tgtEl>
                                          <p:spTgt spid="95"/>
                                        </p:tgtEl>
                                      </p:cBhvr>
                                    </p:animEffect>
                                  </p:childTnLst>
                                </p:cTn>
                              </p:par>
                              <p:par>
                                <p:cTn id="16" presetID="3" presetClass="entr" presetSubtype="1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blinds(horizontal)">
                                      <p:cBhvr>
                                        <p:cTn id="18" dur="500"/>
                                        <p:tgtEl>
                                          <p:spTgt spid="5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6"/>
                                        </p:tgtEl>
                                        <p:attrNameLst>
                                          <p:attrName>style.visibility</p:attrName>
                                        </p:attrNameLst>
                                      </p:cBhvr>
                                      <p:to>
                                        <p:strVal val="visible"/>
                                      </p:to>
                                    </p:set>
                                    <p:animEffect transition="in" filter="fade">
                                      <p:cBhvr>
                                        <p:cTn id="23" dur="20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95" grpId="0"/>
      <p:bldP spid="9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 – DEFECT LOG</a:t>
            </a:r>
            <a:endParaRPr lang="en-US" sz="2400" dirty="0">
              <a:solidFill>
                <a:srgbClr val="002060"/>
              </a:solidFill>
            </a:endParaRPr>
          </a:p>
        </p:txBody>
      </p:sp>
      <p:sp>
        <p:nvSpPr>
          <p:cNvPr id="7" name="TextBox 6"/>
          <p:cNvSpPr txBox="1"/>
          <p:nvPr/>
        </p:nvSpPr>
        <p:spPr>
          <a:xfrm>
            <a:off x="972273" y="1082392"/>
            <a:ext cx="4514127" cy="338554"/>
          </a:xfrm>
          <a:prstGeom prst="rect">
            <a:avLst/>
          </a:prstGeom>
          <a:noFill/>
        </p:spPr>
        <p:txBody>
          <a:bodyPr wrap="square" rtlCol="0">
            <a:spAutoFit/>
          </a:bodyPr>
          <a:lstStyle/>
          <a:p>
            <a:r>
              <a:rPr lang="en-US" sz="1600" b="1" dirty="0" smtClean="0">
                <a:solidFill>
                  <a:schemeClr val="tx2">
                    <a:lumMod val="50000"/>
                  </a:schemeClr>
                </a:solidFill>
              </a:rPr>
              <a:t>Defect Log Template Sections</a:t>
            </a:r>
          </a:p>
        </p:txBody>
      </p:sp>
      <p:graphicFrame>
        <p:nvGraphicFramePr>
          <p:cNvPr id="9" name="Table 8"/>
          <p:cNvGraphicFramePr>
            <a:graphicFrameLocks noGrp="1"/>
          </p:cNvGraphicFramePr>
          <p:nvPr/>
        </p:nvGraphicFramePr>
        <p:xfrm>
          <a:off x="1112520" y="1424419"/>
          <a:ext cx="2484120" cy="4846840"/>
        </p:xfrm>
        <a:graphic>
          <a:graphicData uri="http://schemas.openxmlformats.org/drawingml/2006/table">
            <a:tbl>
              <a:tblPr>
                <a:tableStyleId>{35758FB7-9AC5-4552-8A53-C91805E547FA}</a:tableStyleId>
              </a:tblPr>
              <a:tblGrid>
                <a:gridCol w="2484120"/>
              </a:tblGrid>
              <a:tr h="242342">
                <a:tc>
                  <a:txBody>
                    <a:bodyPr/>
                    <a:lstStyle/>
                    <a:p>
                      <a:pPr algn="l" rtl="0" fontAlgn="ctr"/>
                      <a:r>
                        <a:rPr lang="en-US" sz="1100" u="none" strike="noStrike" dirty="0"/>
                        <a:t>Defect ID </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Titl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scription</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ate Detected</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tected B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tected Wher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Root Caus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Categor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Impac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Priority</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Statu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ate Last Status Chang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Owner</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Defect Resolution Action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Estimated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Target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Comments</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Actual Resolution Date</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Actual Cost</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r h="242342">
                <a:tc>
                  <a:txBody>
                    <a:bodyPr/>
                    <a:lstStyle/>
                    <a:p>
                      <a:pPr algn="l" rtl="0" fontAlgn="ctr"/>
                      <a:r>
                        <a:rPr lang="en-US" sz="1100" u="none" strike="noStrike" dirty="0"/>
                        <a:t>Sign-Off</a:t>
                      </a:r>
                      <a:endParaRPr lang="en-US" sz="1100" b="0" i="0" u="none" strike="noStrike" dirty="0">
                        <a:solidFill>
                          <a:srgbClr val="4E4641"/>
                        </a:solidFill>
                        <a:latin typeface="Arial"/>
                      </a:endParaRPr>
                    </a:p>
                  </a:txBody>
                  <a:tcPr marL="182880" marR="9144" marT="9144" marB="0" anchor="ctr">
                    <a:cell3D prstMaterial="dkEdge">
                      <a:bevel/>
                      <a:lightRig rig="flood" dir="t"/>
                    </a:cell3D>
                  </a:tcPr>
                </a:tc>
              </a:tr>
            </a:tbl>
          </a:graphicData>
        </a:graphic>
      </p:graphicFrame>
      <p:graphicFrame>
        <p:nvGraphicFramePr>
          <p:cNvPr id="10" name="Object 9"/>
          <p:cNvGraphicFramePr>
            <a:graphicFrameLocks noChangeAspect="1"/>
          </p:cNvGraphicFramePr>
          <p:nvPr/>
        </p:nvGraphicFramePr>
        <p:xfrm>
          <a:off x="5379721" y="2148206"/>
          <a:ext cx="2148839" cy="1644836"/>
        </p:xfrm>
        <a:graphic>
          <a:graphicData uri="http://schemas.openxmlformats.org/presentationml/2006/ole">
            <mc:AlternateContent xmlns:mc="http://schemas.openxmlformats.org/markup-compatibility/2006">
              <mc:Choice xmlns:v="urn:schemas-microsoft-com:vml" Requires="v">
                <p:oleObj spid="_x0000_s159760" name="Worksheet" showAsIcon="1" r:id="rId5" imgW="914400" imgH="792480" progId="Excel.Sheet.8">
                  <p:embed/>
                </p:oleObj>
              </mc:Choice>
              <mc:Fallback>
                <p:oleObj name="Worksheet" showAsIcon="1" r:id="rId5" imgW="914400" imgH="792480" progId="Excel.Sheet.8">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9721" y="2148206"/>
                        <a:ext cx="2148839" cy="16448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alkthrough of Basic Templates</a:t>
            </a:r>
            <a:endParaRPr lang="en-US" sz="2400" dirty="0">
              <a:solidFill>
                <a:srgbClr val="002060"/>
              </a:solidFill>
            </a:endParaRPr>
          </a:p>
        </p:txBody>
      </p:sp>
      <p:sp>
        <p:nvSpPr>
          <p:cNvPr id="7" name="TextBox 6"/>
          <p:cNvSpPr txBox="1"/>
          <p:nvPr/>
        </p:nvSpPr>
        <p:spPr>
          <a:xfrm>
            <a:off x="798648" y="1145892"/>
            <a:ext cx="4514127" cy="338554"/>
          </a:xfrm>
          <a:prstGeom prst="rect">
            <a:avLst/>
          </a:prstGeom>
          <a:noFill/>
        </p:spPr>
        <p:txBody>
          <a:bodyPr wrap="square" rtlCol="0">
            <a:spAutoFit/>
          </a:bodyPr>
          <a:lstStyle/>
          <a:p>
            <a:r>
              <a:rPr lang="en-US" sz="1600" b="1" dirty="0" smtClean="0">
                <a:solidFill>
                  <a:schemeClr val="tx2">
                    <a:lumMod val="50000"/>
                  </a:schemeClr>
                </a:solidFill>
              </a:rPr>
              <a:t>Logging Incident &amp; Problem Tickets</a:t>
            </a:r>
          </a:p>
        </p:txBody>
      </p:sp>
      <p:graphicFrame>
        <p:nvGraphicFramePr>
          <p:cNvPr id="10" name="Object 9"/>
          <p:cNvGraphicFramePr>
            <a:graphicFrameLocks noChangeAspect="1"/>
          </p:cNvGraphicFramePr>
          <p:nvPr/>
        </p:nvGraphicFramePr>
        <p:xfrm>
          <a:off x="1767840" y="2209165"/>
          <a:ext cx="1996440" cy="1729556"/>
        </p:xfrm>
        <a:graphic>
          <a:graphicData uri="http://schemas.openxmlformats.org/presentationml/2006/ole">
            <mc:AlternateContent xmlns:mc="http://schemas.openxmlformats.org/markup-compatibility/2006">
              <mc:Choice xmlns:v="urn:schemas-microsoft-com:vml" Requires="v">
                <p:oleObj spid="_x0000_s153629" name="Worksheet" showAsIcon="1" r:id="rId5" imgW="914400" imgH="792480" progId="Excel.Sheet.12">
                  <p:embed/>
                </p:oleObj>
              </mc:Choice>
              <mc:Fallback>
                <p:oleObj name="Worksheet" showAsIcon="1" r:id="rId5" imgW="914400" imgH="792480" progId="Excel.Sheet.12">
                  <p:embed/>
                  <p:pic>
                    <p:nvPicPr>
                      <p:cNvPr id="0"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7840" y="2209165"/>
                        <a:ext cx="1996440" cy="1729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Object 10"/>
          <p:cNvGraphicFramePr>
            <a:graphicFrameLocks noChangeAspect="1"/>
          </p:cNvGraphicFramePr>
          <p:nvPr/>
        </p:nvGraphicFramePr>
        <p:xfrm>
          <a:off x="5440680" y="2193924"/>
          <a:ext cx="1950720" cy="1689949"/>
        </p:xfrm>
        <a:graphic>
          <a:graphicData uri="http://schemas.openxmlformats.org/presentationml/2006/ole">
            <mc:AlternateContent xmlns:mc="http://schemas.openxmlformats.org/markup-compatibility/2006">
              <mc:Choice xmlns:v="urn:schemas-microsoft-com:vml" Requires="v">
                <p:oleObj spid="_x0000_s153630" name="Worksheet" showAsIcon="1" r:id="rId8" imgW="914400" imgH="792480" progId="Excel.Sheet.12">
                  <p:embed/>
                </p:oleObj>
              </mc:Choice>
              <mc:Fallback>
                <p:oleObj name="Worksheet" showAsIcon="1" r:id="rId8" imgW="914400" imgH="792480" progId="Excel.Sheet.12">
                  <p:embed/>
                  <p:pic>
                    <p:nvPicPr>
                      <p:cNvPr id="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40680" y="2193924"/>
                        <a:ext cx="1950720" cy="16899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hy Capture Efforts?</a:t>
            </a:r>
            <a:endParaRPr lang="en-US" sz="2400" dirty="0">
              <a:solidFill>
                <a:srgbClr val="002060"/>
              </a:solidFill>
            </a:endParaRPr>
          </a:p>
        </p:txBody>
      </p:sp>
      <p:sp>
        <p:nvSpPr>
          <p:cNvPr id="9" name="TextBox 8"/>
          <p:cNvSpPr txBox="1"/>
          <p:nvPr/>
        </p:nvSpPr>
        <p:spPr>
          <a:xfrm>
            <a:off x="1286360" y="1921789"/>
            <a:ext cx="2479729" cy="83099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Size</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stimated Effort</a:t>
            </a:r>
          </a:p>
        </p:txBody>
      </p:sp>
      <p:sp>
        <p:nvSpPr>
          <p:cNvPr id="12" name="TextBox 11"/>
          <p:cNvSpPr txBox="1"/>
          <p:nvPr/>
        </p:nvSpPr>
        <p:spPr>
          <a:xfrm>
            <a:off x="5499315" y="1888211"/>
            <a:ext cx="2092271" cy="83099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ime Sheet Entr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ctual Effort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ctual Dates</a:t>
            </a:r>
          </a:p>
        </p:txBody>
      </p:sp>
      <p:sp>
        <p:nvSpPr>
          <p:cNvPr id="13" name="TextBox 12"/>
          <p:cNvSpPr txBox="1"/>
          <p:nvPr/>
        </p:nvSpPr>
        <p:spPr>
          <a:xfrm>
            <a:off x="1611829" y="3952068"/>
            <a:ext cx="5997844" cy="181588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Productivity (Size/Actual Effort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ffort Variance (Difference/Estimated Effort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ffort Distribution Across Phase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Cost of Quality (Prevention </a:t>
            </a:r>
            <a:r>
              <a:rPr lang="en-US" sz="1600" dirty="0" err="1" smtClean="0">
                <a:solidFill>
                  <a:schemeClr val="tx2">
                    <a:lumMod val="50000"/>
                  </a:schemeClr>
                </a:solidFill>
                <a:latin typeface="Arial" pitchFamily="34" charset="0"/>
                <a:cs typeface="Arial" pitchFamily="34" charset="0"/>
              </a:rPr>
              <a:t>Cost+Appraisal</a:t>
            </a:r>
            <a:r>
              <a:rPr lang="en-US" sz="1600" dirty="0" smtClean="0">
                <a:solidFill>
                  <a:schemeClr val="tx2">
                    <a:lumMod val="50000"/>
                  </a:schemeClr>
                </a:solidFill>
                <a:latin typeface="Arial" pitchFamily="34" charset="0"/>
                <a:cs typeface="Arial" pitchFamily="34" charset="0"/>
              </a:rPr>
              <a:t> </a:t>
            </a:r>
            <a:r>
              <a:rPr lang="en-US" sz="1600" dirty="0" err="1" smtClean="0">
                <a:solidFill>
                  <a:schemeClr val="tx2">
                    <a:lumMod val="50000"/>
                  </a:schemeClr>
                </a:solidFill>
                <a:latin typeface="Arial" pitchFamily="34" charset="0"/>
                <a:cs typeface="Arial" pitchFamily="34" charset="0"/>
              </a:rPr>
              <a:t>Cost+Failure</a:t>
            </a:r>
            <a:r>
              <a:rPr lang="en-US" sz="1600" dirty="0" smtClean="0">
                <a:solidFill>
                  <a:schemeClr val="tx2">
                    <a:lumMod val="50000"/>
                  </a:schemeClr>
                </a:solidFill>
                <a:latin typeface="Arial" pitchFamily="34" charset="0"/>
                <a:cs typeface="Arial" pitchFamily="34" charset="0"/>
              </a:rPr>
              <a:t> Cost)</a:t>
            </a:r>
          </a:p>
          <a:p>
            <a:endParaRPr lang="en-US" sz="1600" dirty="0" smtClean="0">
              <a:solidFill>
                <a:schemeClr val="tx2">
                  <a:lumMod val="50000"/>
                </a:schemeClr>
              </a:solidFill>
              <a:latin typeface="Arial" pitchFamily="34" charset="0"/>
              <a:cs typeface="Arial" pitchFamily="34" charset="0"/>
            </a:endParaRPr>
          </a:p>
          <a:p>
            <a:r>
              <a:rPr lang="en-US" sz="1600" dirty="0" smtClean="0">
                <a:solidFill>
                  <a:schemeClr val="tx2">
                    <a:lumMod val="50000"/>
                  </a:schemeClr>
                </a:solidFill>
                <a:latin typeface="Arial" pitchFamily="34" charset="0"/>
                <a:cs typeface="Arial" pitchFamily="34" charset="0"/>
              </a:rPr>
              <a:t>Efforts Estimation for remaining Size can be done.</a:t>
            </a:r>
            <a:endParaRPr lang="en-US" sz="1600" dirty="0" err="1" smtClean="0">
              <a:solidFill>
                <a:schemeClr val="tx2">
                  <a:lumMod val="50000"/>
                </a:schemeClr>
              </a:solidFill>
              <a:latin typeface="Arial" pitchFamily="34" charset="0"/>
              <a:cs typeface="Arial" pitchFamily="34" charset="0"/>
            </a:endParaRPr>
          </a:p>
        </p:txBody>
      </p:sp>
      <p:sp>
        <p:nvSpPr>
          <p:cNvPr id="17" name="Down Arrow 16"/>
          <p:cNvSpPr/>
          <p:nvPr/>
        </p:nvSpPr>
        <p:spPr>
          <a:xfrm>
            <a:off x="2541722" y="2805194"/>
            <a:ext cx="294468" cy="108488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Down Arrow 17"/>
          <p:cNvSpPr/>
          <p:nvPr/>
        </p:nvSpPr>
        <p:spPr>
          <a:xfrm>
            <a:off x="6276814" y="2774197"/>
            <a:ext cx="356461" cy="1162372"/>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linds(horizont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blinds(horizontal)">
                                      <p:cBhvr>
                                        <p:cTn id="17" dur="500"/>
                                        <p:tgtEl>
                                          <p:spTgt spid="17"/>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blinds(horizontal)">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blinds(horizontal)">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Why to Capture Defects?</a:t>
            </a:r>
            <a:endParaRPr lang="en-US" sz="2400" dirty="0">
              <a:solidFill>
                <a:srgbClr val="002060"/>
              </a:solidFill>
            </a:endParaRPr>
          </a:p>
        </p:txBody>
      </p:sp>
      <p:sp>
        <p:nvSpPr>
          <p:cNvPr id="9" name="TextBox 8"/>
          <p:cNvSpPr txBox="1"/>
          <p:nvPr/>
        </p:nvSpPr>
        <p:spPr>
          <a:xfrm>
            <a:off x="1255362" y="1642821"/>
            <a:ext cx="1131376" cy="58477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ask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Size</a:t>
            </a:r>
          </a:p>
        </p:txBody>
      </p:sp>
      <p:sp>
        <p:nvSpPr>
          <p:cNvPr id="12" name="TextBox 11"/>
          <p:cNvSpPr txBox="1"/>
          <p:nvPr/>
        </p:nvSpPr>
        <p:spPr>
          <a:xfrm>
            <a:off x="6537701" y="1624740"/>
            <a:ext cx="2776780" cy="156966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Defect Entr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s - No., Severit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Stage - Introduced &amp; Detected</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Error Category</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Root Cause</a:t>
            </a:r>
          </a:p>
        </p:txBody>
      </p:sp>
      <p:sp>
        <p:nvSpPr>
          <p:cNvPr id="13" name="TextBox 12"/>
          <p:cNvSpPr txBox="1"/>
          <p:nvPr/>
        </p:nvSpPr>
        <p:spPr>
          <a:xfrm>
            <a:off x="1673817" y="3859073"/>
            <a:ext cx="5997844" cy="2062103"/>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Metrics (Output):</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 Density (No. of Defect / Actual Size)</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 Detection Rate (No. of Defect / Person Days)</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vg. Defect Age (depends on Stage detected &amp; injected)</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Defect Removal Efficiency (Pre-delivery &amp; Post-delivery defect comparison)</a:t>
            </a:r>
          </a:p>
          <a:p>
            <a:endParaRPr lang="en-US" sz="1600" dirty="0" smtClean="0">
              <a:solidFill>
                <a:schemeClr val="tx2">
                  <a:lumMod val="50000"/>
                </a:schemeClr>
              </a:solidFill>
              <a:latin typeface="Arial" pitchFamily="34" charset="0"/>
              <a:cs typeface="Arial" pitchFamily="34" charset="0"/>
            </a:endParaRPr>
          </a:p>
          <a:p>
            <a:r>
              <a:rPr lang="en-US" sz="1600" dirty="0" smtClean="0">
                <a:solidFill>
                  <a:schemeClr val="tx2">
                    <a:lumMod val="50000"/>
                  </a:schemeClr>
                </a:solidFill>
                <a:latin typeface="Arial" pitchFamily="34" charset="0"/>
                <a:cs typeface="Arial" pitchFamily="34" charset="0"/>
              </a:rPr>
              <a:t>Defects estimation for remaining size can be done.</a:t>
            </a:r>
            <a:endParaRPr lang="en-US" sz="1600" dirty="0" err="1" smtClean="0">
              <a:solidFill>
                <a:schemeClr val="tx2">
                  <a:lumMod val="50000"/>
                </a:schemeClr>
              </a:solidFill>
              <a:latin typeface="Arial" pitchFamily="34" charset="0"/>
              <a:cs typeface="Arial" pitchFamily="34" charset="0"/>
            </a:endParaRPr>
          </a:p>
        </p:txBody>
      </p:sp>
      <p:sp>
        <p:nvSpPr>
          <p:cNvPr id="17" name="TextBox 16"/>
          <p:cNvSpPr txBox="1"/>
          <p:nvPr/>
        </p:nvSpPr>
        <p:spPr>
          <a:xfrm>
            <a:off x="3763471" y="1655740"/>
            <a:ext cx="1707431" cy="58477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1600" b="1" dirty="0" smtClean="0">
                <a:solidFill>
                  <a:schemeClr val="tx2">
                    <a:lumMod val="50000"/>
                  </a:schemeClr>
                </a:solidFill>
                <a:latin typeface="Arial" pitchFamily="34" charset="0"/>
                <a:cs typeface="Arial" pitchFamily="34" charset="0"/>
              </a:rPr>
              <a:t>Timesheet</a:t>
            </a:r>
          </a:p>
          <a:p>
            <a:pPr>
              <a:buFont typeface="Wingdings" pitchFamily="2" charset="2"/>
              <a:buChar char="ü"/>
            </a:pPr>
            <a:r>
              <a:rPr lang="en-US" sz="1600" dirty="0" smtClean="0">
                <a:solidFill>
                  <a:schemeClr val="tx2">
                    <a:lumMod val="50000"/>
                  </a:schemeClr>
                </a:solidFill>
                <a:latin typeface="Arial" pitchFamily="34" charset="0"/>
                <a:cs typeface="Arial" pitchFamily="34" charset="0"/>
              </a:rPr>
              <a:t>Actual Efforts</a:t>
            </a:r>
          </a:p>
        </p:txBody>
      </p:sp>
      <p:sp>
        <p:nvSpPr>
          <p:cNvPr id="18" name="Down Arrow 17"/>
          <p:cNvSpPr/>
          <p:nvPr/>
        </p:nvSpPr>
        <p:spPr>
          <a:xfrm>
            <a:off x="1828801" y="2278253"/>
            <a:ext cx="371959" cy="1549830"/>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Down Arrow 18"/>
          <p:cNvSpPr/>
          <p:nvPr/>
        </p:nvSpPr>
        <p:spPr>
          <a:xfrm>
            <a:off x="4324036" y="2278254"/>
            <a:ext cx="356459" cy="1549828"/>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Down Arrow 19"/>
          <p:cNvSpPr/>
          <p:nvPr/>
        </p:nvSpPr>
        <p:spPr>
          <a:xfrm>
            <a:off x="7005234" y="3285641"/>
            <a:ext cx="356461" cy="557939"/>
          </a:xfrm>
          <a:prstGeom prst="downArrow">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linds(horizont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linds(horizont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linds(horizontal)">
                                      <p:cBhvr>
                                        <p:cTn id="22" dur="500"/>
                                        <p:tgtEl>
                                          <p:spTgt spid="18"/>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blinds(horizontal)">
                                      <p:cBhvr>
                                        <p:cTn id="25" dur="500"/>
                                        <p:tgtEl>
                                          <p:spTgt spid="19"/>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blinds(horizontal)">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blinds(horizontal)">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7" grpId="0" animBg="1"/>
      <p:bldP spid="18" grpId="0" animBg="1"/>
      <p:bldP spid="19" grpId="0" animBg="1"/>
      <p:bldP spid="2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pPr>
              <a:spcAft>
                <a:spcPts val="600"/>
              </a:spcAft>
              <a:defRPr/>
            </a:pPr>
            <a:r>
              <a:rPr lang="en-US" sz="2400" dirty="0" smtClean="0">
                <a:solidFill>
                  <a:schemeClr val="tx1"/>
                </a:solidFill>
              </a:rPr>
              <a:t>Agenda</a:t>
            </a:r>
          </a:p>
        </p:txBody>
      </p:sp>
      <p:sp>
        <p:nvSpPr>
          <p:cNvPr id="21" name="TextBox 20"/>
          <p:cNvSpPr txBox="1"/>
          <p:nvPr/>
        </p:nvSpPr>
        <p:spPr>
          <a:xfrm>
            <a:off x="846984" y="1591583"/>
            <a:ext cx="7446116" cy="3170099"/>
          </a:xfrm>
          <a:prstGeom prst="rect">
            <a:avLst/>
          </a:prstGeom>
          <a:noFill/>
        </p:spPr>
        <p:txBody>
          <a:bodyPr wrap="square" numCol="1" rtlCol="0" anchor="ctr">
            <a:spAutoFit/>
          </a:bodyPr>
          <a:lstStyle/>
          <a:p>
            <a:pPr marL="342900" indent="-342900">
              <a:buFont typeface="+mj-lt"/>
              <a:buAutoNum type="arabicPeriod"/>
            </a:pPr>
            <a:r>
              <a:rPr lang="en-US" sz="2000" dirty="0" smtClean="0"/>
              <a:t>Introduction – Concepts  of Quality </a:t>
            </a:r>
          </a:p>
          <a:p>
            <a:pPr marL="342900" indent="-342900">
              <a:buFont typeface="+mj-lt"/>
              <a:buAutoNum type="arabicPeriod"/>
            </a:pPr>
            <a:r>
              <a:rPr lang="en-US" sz="2000" dirty="0" smtClean="0"/>
              <a:t>QMS, Its Components &amp; Navigation</a:t>
            </a:r>
          </a:p>
          <a:p>
            <a:pPr marL="342900" indent="-342900">
              <a:buFont typeface="+mj-lt"/>
              <a:buAutoNum type="arabicPeriod"/>
            </a:pPr>
            <a:r>
              <a:rPr lang="en-US" sz="2000" dirty="0" smtClean="0"/>
              <a:t>Deliver (Global QMS)</a:t>
            </a:r>
          </a:p>
          <a:p>
            <a:pPr marL="342900" indent="-342900">
              <a:buFont typeface="+mj-lt"/>
              <a:buAutoNum type="arabicPeriod"/>
            </a:pPr>
            <a:r>
              <a:rPr lang="en-US" sz="2000" dirty="0" smtClean="0"/>
              <a:t>KM Portal – Best Practice/Sample Records Database</a:t>
            </a:r>
          </a:p>
          <a:p>
            <a:pPr marL="342900" indent="-342900">
              <a:buFont typeface="+mj-lt"/>
              <a:buAutoNum type="arabicPeriod"/>
            </a:pPr>
            <a:r>
              <a:rPr lang="en-US" sz="2000" dirty="0" smtClean="0"/>
              <a:t>Tools Quality Implementation at Capgemini</a:t>
            </a:r>
          </a:p>
          <a:p>
            <a:pPr marL="342900" indent="-342900">
              <a:buFont typeface="+mj-lt"/>
              <a:buAutoNum type="arabicPeriod"/>
            </a:pPr>
            <a:r>
              <a:rPr lang="en-US" sz="2000" dirty="0" smtClean="0"/>
              <a:t>Our Continual Quality Journey…</a:t>
            </a:r>
          </a:p>
          <a:p>
            <a:pPr marL="342900" indent="-342900">
              <a:buFont typeface="+mj-lt"/>
              <a:buAutoNum type="arabicPeriod"/>
            </a:pPr>
            <a:r>
              <a:rPr lang="en-US" sz="2000" dirty="0" smtClean="0"/>
              <a:t>Industry Standards</a:t>
            </a:r>
          </a:p>
          <a:p>
            <a:pPr marL="342900" indent="-342900">
              <a:buFont typeface="+mj-lt"/>
              <a:buAutoNum type="arabicPeriod"/>
            </a:pPr>
            <a:r>
              <a:rPr lang="en-US" sz="2000" dirty="0" smtClean="0"/>
              <a:t>QA Team</a:t>
            </a:r>
          </a:p>
          <a:p>
            <a:pPr marL="342900" indent="-342900">
              <a:buFont typeface="+mj-lt"/>
              <a:buAutoNum type="arabicPeriod"/>
            </a:pPr>
            <a:r>
              <a:rPr lang="en-US" sz="2000" dirty="0" smtClean="0"/>
              <a:t>Walkthrough of Basic Templates</a:t>
            </a:r>
          </a:p>
          <a:p>
            <a:pPr marL="342900" indent="-342900">
              <a:buFont typeface="+mj-lt"/>
              <a:buAutoNum type="arabicPeriod"/>
            </a:pPr>
            <a:r>
              <a:rPr lang="en-US" sz="2000" b="1" u="sng" dirty="0" smtClean="0"/>
              <a:t>Case Studies &amp; Games</a:t>
            </a:r>
            <a:endParaRPr lang="en-US" sz="2000" b="1" u="sng" dirty="0"/>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Case Studies &amp; Games</a:t>
            </a:r>
            <a:endParaRPr lang="en-US" sz="2400" dirty="0">
              <a:solidFill>
                <a:srgbClr val="FF0000"/>
              </a:solidFill>
            </a:endParaRPr>
          </a:p>
        </p:txBody>
      </p:sp>
      <p:sp>
        <p:nvSpPr>
          <p:cNvPr id="49" name="TextBox 48"/>
          <p:cNvSpPr txBox="1"/>
          <p:nvPr/>
        </p:nvSpPr>
        <p:spPr>
          <a:xfrm>
            <a:off x="670560" y="1036320"/>
            <a:ext cx="2758440" cy="523220"/>
          </a:xfrm>
          <a:prstGeom prst="rect">
            <a:avLst/>
          </a:prstGeom>
          <a:noFill/>
        </p:spPr>
        <p:txBody>
          <a:bodyPr wrap="square" rtlCol="0">
            <a:spAutoFit/>
          </a:bodyPr>
          <a:lstStyle/>
          <a:p>
            <a:r>
              <a:rPr lang="en-US" sz="2800" b="1" i="1" u="sng" dirty="0" smtClean="0">
                <a:solidFill>
                  <a:schemeClr val="tx2">
                    <a:lumMod val="50000"/>
                  </a:schemeClr>
                </a:solidFill>
              </a:rPr>
              <a:t>TEAM GAME</a:t>
            </a:r>
          </a:p>
        </p:txBody>
      </p:sp>
      <p:sp>
        <p:nvSpPr>
          <p:cNvPr id="10" name="TextBox 9"/>
          <p:cNvSpPr txBox="1"/>
          <p:nvPr/>
        </p:nvSpPr>
        <p:spPr>
          <a:xfrm>
            <a:off x="137160" y="1539240"/>
            <a:ext cx="9585960" cy="1200329"/>
          </a:xfrm>
          <a:prstGeom prst="rect">
            <a:avLst/>
          </a:prstGeom>
          <a:noFill/>
        </p:spPr>
        <p:txBody>
          <a:bodyPr wrap="square" rtlCol="0">
            <a:spAutoFit/>
          </a:bodyPr>
          <a:lstStyle/>
          <a:p>
            <a:r>
              <a:rPr lang="en-US" sz="1800" dirty="0" smtClean="0">
                <a:solidFill>
                  <a:schemeClr val="tx2">
                    <a:lumMod val="50000"/>
                  </a:schemeClr>
                </a:solidFill>
              </a:rPr>
              <a:t>Given below is a table with key words from quality, delivery, SDLC, certifications and organization level roles.</a:t>
            </a:r>
          </a:p>
          <a:p>
            <a:r>
              <a:rPr lang="en-US" sz="1800" dirty="0" smtClean="0">
                <a:solidFill>
                  <a:schemeClr val="tx2">
                    <a:lumMod val="50000"/>
                  </a:schemeClr>
                </a:solidFill>
              </a:rPr>
              <a:t>You can find the words arranged horizontally, vertically, diagonally or in a mirror image format. Find out the maximum words.</a:t>
            </a:r>
            <a:endParaRPr lang="en-US" sz="1800" dirty="0" err="1" smtClean="0">
              <a:solidFill>
                <a:schemeClr val="tx2">
                  <a:lumMod val="50000"/>
                </a:schemeClr>
              </a:solidFill>
            </a:endParaRPr>
          </a:p>
        </p:txBody>
      </p:sp>
      <p:graphicFrame>
        <p:nvGraphicFramePr>
          <p:cNvPr id="11" name="Table 10"/>
          <p:cNvGraphicFramePr>
            <a:graphicFrameLocks noGrp="1"/>
          </p:cNvGraphicFramePr>
          <p:nvPr/>
        </p:nvGraphicFramePr>
        <p:xfrm>
          <a:off x="3126106" y="2795269"/>
          <a:ext cx="4509133" cy="3468370"/>
        </p:xfrm>
        <a:graphic>
          <a:graphicData uri="http://schemas.openxmlformats.org/drawingml/2006/table">
            <a:tbl>
              <a:tblPr/>
              <a:tblGrid>
                <a:gridCol w="513935"/>
                <a:gridCol w="513935"/>
                <a:gridCol w="513935"/>
                <a:gridCol w="513935"/>
                <a:gridCol w="455794"/>
                <a:gridCol w="513935"/>
                <a:gridCol w="455794"/>
                <a:gridCol w="513935"/>
                <a:gridCol w="513935"/>
              </a:tblGrid>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Y</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D</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F</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L</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O</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I</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U</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Q</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R</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I</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E</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G</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A</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K</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C</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6837">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P</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T</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S</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Y</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B</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lang="en-US" sz="1100">
                        <a:latin typeface="Calibri"/>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400">
                          <a:solidFill>
                            <a:srgbClr val="000000"/>
                          </a:solidFill>
                          <a:latin typeface="Calibri"/>
                          <a:ea typeface="Times New Roman"/>
                          <a:cs typeface="Times New Roman"/>
                        </a:rPr>
                        <a:t>M</a:t>
                      </a:r>
                      <a:endParaRPr lang="en-US" sz="11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solidFill>
                            <a:srgbClr val="000000"/>
                          </a:solidFill>
                          <a:latin typeface="Calibri"/>
                          <a:ea typeface="Times New Roman"/>
                          <a:cs typeface="Times New Roman"/>
                        </a:rPr>
                        <a:t>M</a:t>
                      </a:r>
                      <a:endParaRPr lang="en-US"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Case Studies &amp; Games Continued..</a:t>
            </a:r>
            <a:endParaRPr lang="en-US" sz="2400" dirty="0">
              <a:solidFill>
                <a:srgbClr val="002060"/>
              </a:solidFill>
            </a:endParaRPr>
          </a:p>
        </p:txBody>
      </p:sp>
      <p:sp>
        <p:nvSpPr>
          <p:cNvPr id="49" name="TextBox 48"/>
          <p:cNvSpPr txBox="1"/>
          <p:nvPr/>
        </p:nvSpPr>
        <p:spPr>
          <a:xfrm>
            <a:off x="670560" y="1036320"/>
            <a:ext cx="4556760" cy="523220"/>
          </a:xfrm>
          <a:prstGeom prst="rect">
            <a:avLst/>
          </a:prstGeom>
          <a:noFill/>
        </p:spPr>
        <p:txBody>
          <a:bodyPr wrap="square" rtlCol="0">
            <a:spAutoFit/>
          </a:bodyPr>
          <a:lstStyle/>
          <a:p>
            <a:r>
              <a:rPr lang="en-US" sz="2800" b="1" i="1" u="sng" dirty="0" smtClean="0">
                <a:solidFill>
                  <a:schemeClr val="tx2">
                    <a:lumMod val="50000"/>
                  </a:schemeClr>
                </a:solidFill>
              </a:rPr>
              <a:t>TEAM GAME ANSWERS</a:t>
            </a:r>
          </a:p>
        </p:txBody>
      </p:sp>
      <p:graphicFrame>
        <p:nvGraphicFramePr>
          <p:cNvPr id="9" name="Table 8"/>
          <p:cNvGraphicFramePr>
            <a:graphicFrameLocks noGrp="1"/>
          </p:cNvGraphicFramePr>
          <p:nvPr/>
        </p:nvGraphicFramePr>
        <p:xfrm>
          <a:off x="2548890" y="1752071"/>
          <a:ext cx="4232910" cy="4328688"/>
        </p:xfrm>
        <a:graphic>
          <a:graphicData uri="http://schemas.openxmlformats.org/drawingml/2006/table">
            <a:tbl>
              <a:tblPr/>
              <a:tblGrid>
                <a:gridCol w="2144738"/>
                <a:gridCol w="2088172"/>
              </a:tblGrid>
              <a:tr h="541086">
                <a:tc>
                  <a:txBody>
                    <a:bodyPr/>
                    <a:lstStyle/>
                    <a:p>
                      <a:pPr algn="ctr" fontAlgn="b"/>
                      <a:r>
                        <a:rPr lang="en-US" sz="2000" b="0" i="0" u="none" strike="noStrike" dirty="0">
                          <a:solidFill>
                            <a:srgbClr val="000000"/>
                          </a:solidFill>
                          <a:latin typeface="Calibri"/>
                        </a:rPr>
                        <a:t>QUAL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S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CO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CMMI</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ITI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dirty="0">
                          <a:solidFill>
                            <a:srgbClr val="000000"/>
                          </a:solidFill>
                          <a:latin typeface="Calibri"/>
                        </a:rPr>
                        <a:t>T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QM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ISSU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LIFECYC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RI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P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C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Calibri"/>
                        </a:rPr>
                        <a:t>SEP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086">
                <a:tc>
                  <a:txBody>
                    <a:bodyPr/>
                    <a:lstStyle/>
                    <a:p>
                      <a:pPr algn="ctr" fontAlgn="b"/>
                      <a:r>
                        <a:rPr lang="en-US" sz="2000" b="0" i="0" u="none" strike="noStrike">
                          <a:solidFill>
                            <a:srgbClr val="000000"/>
                          </a:solidFill>
                          <a:latin typeface="Calibri"/>
                        </a:rPr>
                        <a:t>EFFOR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Calibri"/>
                        </a:rPr>
                        <a:t>TA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Q&amp;A.jpg"/>
          <p:cNvPicPr>
            <a:picLocks noChangeAspect="1"/>
          </p:cNvPicPr>
          <p:nvPr/>
        </p:nvPicPr>
        <p:blipFill>
          <a:blip r:embed="rId3" cstate="print"/>
          <a:stretch>
            <a:fillRect/>
          </a:stretch>
        </p:blipFill>
        <p:spPr>
          <a:xfrm>
            <a:off x="2120900" y="1384300"/>
            <a:ext cx="4279900" cy="4279900"/>
          </a:xfrm>
          <a:prstGeom prst="rect">
            <a:avLst/>
          </a:prstGeom>
        </p:spPr>
      </p:pic>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32001" y="2654300"/>
            <a:ext cx="5486400" cy="1323439"/>
          </a:xfrm>
          <a:prstGeom prst="rect">
            <a:avLst/>
          </a:prstGeom>
          <a:noFill/>
          <a:effectLst>
            <a:outerShdw blurRad="520700" dir="5400000" sx="134000" sy="134000" algn="ctr" rotWithShape="0">
              <a:srgbClr val="000000">
                <a:alpha val="58000"/>
              </a:srgbClr>
            </a:outerShdw>
          </a:effectLst>
          <a:scene3d>
            <a:camera prst="perspectiveRelaxedModerately"/>
            <a:lightRig rig="threePt" dir="t"/>
          </a:scene3d>
          <a:sp3d extrusionH="76200" contourW="12700" prstMaterial="flat">
            <a:extrusionClr>
              <a:schemeClr val="accent4">
                <a:lumMod val="20000"/>
                <a:lumOff val="80000"/>
              </a:schemeClr>
            </a:extrusionClr>
            <a:contourClr>
              <a:schemeClr val="tx1">
                <a:lumMod val="20000"/>
                <a:lumOff val="80000"/>
              </a:schemeClr>
            </a:contourClr>
          </a:sp3d>
        </p:spPr>
        <p:txBody>
          <a:bodyPr wrap="square" lIns="91440" tIns="45720" rIns="91440" bIns="45720">
            <a:spAutoFit/>
            <a:scene3d>
              <a:camera prst="orthographicFront"/>
              <a:lightRig rig="flat" dir="tl">
                <a:rot lat="0" lon="0" rev="6600000"/>
              </a:lightRig>
            </a:scene3d>
          </a:bodyPr>
          <a:lstStyle/>
          <a:p>
            <a:pPr algn="ctr"/>
            <a:r>
              <a:rPr lang="en-US" sz="80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endParaRPr lang="en-US" sz="80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13" name="Rounded Rectangle 12"/>
          <p:cNvSpPr/>
          <p:nvPr/>
        </p:nvSpPr>
        <p:spPr>
          <a:xfrm>
            <a:off x="2849880" y="1638181"/>
            <a:ext cx="2621280" cy="739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Requirements/Planning: </a:t>
            </a:r>
          </a:p>
          <a:p>
            <a:pPr marL="0" lvl="1">
              <a:spcBef>
                <a:spcPts val="117"/>
              </a:spcBef>
              <a:buClr>
                <a:schemeClr val="tx1"/>
              </a:buClr>
              <a:buSzPct val="100000"/>
              <a:defRPr/>
            </a:pPr>
            <a:r>
              <a:rPr lang="en-US" altLang="en-US" sz="1600" dirty="0" smtClean="0">
                <a:solidFill>
                  <a:srgbClr val="000000"/>
                </a:solidFill>
              </a:rPr>
              <a:t>Identify Customer (internet users) requirements.</a:t>
            </a:r>
            <a:endParaRPr lang="en-GB" altLang="en-US" sz="1600" dirty="0" smtClean="0">
              <a:solidFill>
                <a:srgbClr val="000000"/>
              </a:solidFill>
            </a:endParaRPr>
          </a:p>
        </p:txBody>
      </p:sp>
      <p:sp>
        <p:nvSpPr>
          <p:cNvPr id="9" name="Rounded Rectangle 8"/>
          <p:cNvSpPr/>
          <p:nvPr/>
        </p:nvSpPr>
        <p:spPr>
          <a:xfrm>
            <a:off x="3154680" y="2926080"/>
            <a:ext cx="2773680" cy="17221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Requirement Analysis/Defining: </a:t>
            </a:r>
          </a:p>
          <a:p>
            <a:pPr marL="0" lvl="1">
              <a:spcBef>
                <a:spcPts val="117"/>
              </a:spcBef>
              <a:buClr>
                <a:schemeClr val="tx1"/>
              </a:buClr>
              <a:buSzPct val="100000"/>
              <a:defRPr/>
            </a:pPr>
            <a:r>
              <a:rPr lang="en-US" altLang="en-US" sz="1600" dirty="0" smtClean="0">
                <a:solidFill>
                  <a:srgbClr val="000000"/>
                </a:solidFill>
              </a:rPr>
              <a:t>Analyze the different requirements from users &amp; finalize the requirements.</a:t>
            </a:r>
            <a:endParaRPr lang="en-GB" altLang="en-US" sz="1600" dirty="0" smtClean="0">
              <a:solidFill>
                <a:srgbClr val="000000"/>
              </a:solidFill>
            </a:endParaRPr>
          </a:p>
        </p:txBody>
      </p:sp>
      <p:sp>
        <p:nvSpPr>
          <p:cNvPr id="14" name="Rounded Rectangle 13"/>
          <p:cNvSpPr/>
          <p:nvPr/>
        </p:nvSpPr>
        <p:spPr>
          <a:xfrm>
            <a:off x="3901440" y="5006221"/>
            <a:ext cx="4145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Design the Software App:</a:t>
            </a:r>
          </a:p>
          <a:p>
            <a:pPr marL="0" lvl="1">
              <a:spcBef>
                <a:spcPts val="117"/>
              </a:spcBef>
              <a:buClr>
                <a:schemeClr val="tx1"/>
              </a:buClr>
              <a:buSzPct val="100000"/>
              <a:defRPr/>
            </a:pPr>
            <a:r>
              <a:rPr lang="en-US" altLang="en-US" sz="1600" dirty="0" smtClean="0">
                <a:solidFill>
                  <a:srgbClr val="000000"/>
                </a:solidFill>
              </a:rPr>
              <a:t>High level and low level complete software app design is done.</a:t>
            </a:r>
            <a:endParaRPr lang="en-GB" altLang="en-US" sz="1600" dirty="0" smtClean="0">
              <a:solidFill>
                <a:srgbClr val="000000"/>
              </a:solidFill>
            </a:endParaRPr>
          </a:p>
        </p:txBody>
      </p:sp>
      <p:sp>
        <p:nvSpPr>
          <p:cNvPr id="15" name="Rounded Rectangle 14"/>
          <p:cNvSpPr/>
          <p:nvPr/>
        </p:nvSpPr>
        <p:spPr>
          <a:xfrm>
            <a:off x="6294120" y="3484543"/>
            <a:ext cx="3520440" cy="110501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Coding (Building): </a:t>
            </a:r>
          </a:p>
          <a:p>
            <a:pPr marL="0" lvl="1">
              <a:spcBef>
                <a:spcPts val="117"/>
              </a:spcBef>
              <a:buClr>
                <a:schemeClr val="tx1"/>
              </a:buClr>
              <a:buSzPct val="100000"/>
              <a:defRPr/>
            </a:pPr>
            <a:r>
              <a:rPr lang="en-US" altLang="en-US" sz="1600" dirty="0" smtClean="0">
                <a:solidFill>
                  <a:srgbClr val="000000"/>
                </a:solidFill>
              </a:rPr>
              <a:t>Using the designs &amp; software technologies, coding will be done</a:t>
            </a:r>
            <a:endParaRPr lang="en-GB" altLang="en-US" sz="1600" dirty="0" smtClean="0">
              <a:solidFill>
                <a:srgbClr val="000000"/>
              </a:solidFill>
            </a:endParaRPr>
          </a:p>
        </p:txBody>
      </p:sp>
      <p:pic>
        <p:nvPicPr>
          <p:cNvPr id="19" name="Picture 18" descr="1 Internet users.jpg"/>
          <p:cNvPicPr>
            <a:picLocks noChangeAspect="1"/>
          </p:cNvPicPr>
          <p:nvPr/>
        </p:nvPicPr>
        <p:blipFill>
          <a:blip r:embed="rId3" cstate="print"/>
          <a:stretch>
            <a:fillRect/>
          </a:stretch>
        </p:blipFill>
        <p:spPr>
          <a:xfrm>
            <a:off x="76200" y="1478280"/>
            <a:ext cx="2600960" cy="1463040"/>
          </a:xfrm>
          <a:prstGeom prst="rect">
            <a:avLst/>
          </a:prstGeom>
        </p:spPr>
      </p:pic>
      <p:pic>
        <p:nvPicPr>
          <p:cNvPr id="20" name="Picture 19" descr="2 RequirementsAnalysis.jpg"/>
          <p:cNvPicPr>
            <a:picLocks noChangeAspect="1"/>
          </p:cNvPicPr>
          <p:nvPr/>
        </p:nvPicPr>
        <p:blipFill>
          <a:blip r:embed="rId4" cstate="print"/>
          <a:stretch>
            <a:fillRect/>
          </a:stretch>
        </p:blipFill>
        <p:spPr>
          <a:xfrm>
            <a:off x="45720" y="2994394"/>
            <a:ext cx="3002280" cy="1623326"/>
          </a:xfrm>
          <a:prstGeom prst="rect">
            <a:avLst/>
          </a:prstGeom>
        </p:spPr>
      </p:pic>
      <p:pic>
        <p:nvPicPr>
          <p:cNvPr id="22" name="Picture 21" descr="3 whats up design image.jpg"/>
          <p:cNvPicPr>
            <a:picLocks noChangeAspect="1"/>
          </p:cNvPicPr>
          <p:nvPr/>
        </p:nvPicPr>
        <p:blipFill>
          <a:blip r:embed="rId5" cstate="print"/>
          <a:stretch>
            <a:fillRect/>
          </a:stretch>
        </p:blipFill>
        <p:spPr>
          <a:xfrm>
            <a:off x="0" y="4693920"/>
            <a:ext cx="3718560" cy="1593669"/>
          </a:xfrm>
          <a:prstGeom prst="rect">
            <a:avLst/>
          </a:prstGeom>
        </p:spPr>
      </p:pic>
      <p:pic>
        <p:nvPicPr>
          <p:cNvPr id="23" name="Picture 22" descr="4 Coding.jpg"/>
          <p:cNvPicPr>
            <a:picLocks noChangeAspect="1"/>
          </p:cNvPicPr>
          <p:nvPr/>
        </p:nvPicPr>
        <p:blipFill>
          <a:blip r:embed="rId6" cstate="print"/>
          <a:stretch>
            <a:fillRect/>
          </a:stretch>
        </p:blipFill>
        <p:spPr>
          <a:xfrm>
            <a:off x="6187440" y="1575090"/>
            <a:ext cx="3352800" cy="1840992"/>
          </a:xfrm>
          <a:prstGeom prst="rect">
            <a:avLst/>
          </a:prstGeom>
        </p:spPr>
      </p:pic>
      <p:sp>
        <p:nvSpPr>
          <p:cNvPr id="12" name="Title 7"/>
          <p:cNvSpPr txBox="1">
            <a:spLocks/>
          </p:cNvSpPr>
          <p:nvPr/>
        </p:nvSpPr>
        <p:spPr bwMode="auto">
          <a:xfrm>
            <a:off x="495300" y="274638"/>
            <a:ext cx="8915400" cy="778098"/>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normAutofit/>
          </a:bodyPr>
          <a:lstStyle/>
          <a:p>
            <a:pPr lvl="0" defTabSz="912813" eaLnBrk="0" hangingPunct="0">
              <a:lnSpc>
                <a:spcPct val="85000"/>
              </a:lnSpc>
            </a:pPr>
            <a:r>
              <a:rPr lang="en-US" sz="2400" dirty="0" smtClean="0"/>
              <a:t>Scenario : Developing a Software App (</a:t>
            </a:r>
            <a:r>
              <a:rPr lang="en-US" sz="2400" dirty="0" err="1" smtClean="0"/>
              <a:t>WhatsApp</a:t>
            </a:r>
            <a:r>
              <a:rPr lang="en-US" sz="2400" dirty="0" smtClean="0"/>
              <a:t>)</a:t>
            </a:r>
            <a:endParaRPr kumimoji="0" lang="en-US" sz="2400" b="0" i="0" u="none" strike="noStrike" kern="1200" cap="none" spc="0" normalizeH="0" baseline="0" noProof="0" dirty="0">
              <a:ln>
                <a:noFill/>
              </a:ln>
              <a:solidFill>
                <a:srgbClr val="002060"/>
              </a:solidFill>
              <a:effectLst/>
              <a:uLnTx/>
              <a:uFillTx/>
              <a:latin typeface="+mj-lt"/>
              <a:ea typeface="+mj-ea"/>
              <a:cs typeface="+mj-cs"/>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blinds(horizontal)">
                                      <p:cBhvr>
                                        <p:cTn id="15" dur="500"/>
                                        <p:tgtEl>
                                          <p:spTgt spid="20"/>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blinds(horizontal)">
                                      <p:cBhvr>
                                        <p:cTn id="23" dur="500"/>
                                        <p:tgtEl>
                                          <p:spTgt spid="22"/>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blinds(horizontal)">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blinds(horizontal)">
                                      <p:cBhvr>
                                        <p:cTn id="31" dur="500"/>
                                        <p:tgtEl>
                                          <p:spTgt spid="23"/>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linds(horizontal)">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a:xfrm>
            <a:off x="634782" y="336630"/>
            <a:ext cx="8915400" cy="778098"/>
          </a:xfrm>
        </p:spPr>
        <p:txBody>
          <a:bodyPr>
            <a:normAutofit/>
          </a:bodyPr>
          <a:lstStyle/>
          <a:p>
            <a:r>
              <a:rPr lang="en-US" sz="2400" dirty="0" smtClean="0"/>
              <a:t>Scenario : Developing a Software App (</a:t>
            </a:r>
            <a:r>
              <a:rPr lang="en-US" sz="2400" dirty="0" err="1" smtClean="0"/>
              <a:t>WhatsApp</a:t>
            </a:r>
            <a:r>
              <a:rPr lang="en-US" sz="2400" dirty="0" smtClean="0"/>
              <a:t>)</a:t>
            </a:r>
            <a:endParaRPr lang="en-US" sz="2400" dirty="0">
              <a:solidFill>
                <a:srgbClr val="002060"/>
              </a:solidFill>
            </a:endParaRPr>
          </a:p>
        </p:txBody>
      </p:sp>
      <p:pic>
        <p:nvPicPr>
          <p:cNvPr id="12" name="Picture 11" descr="5 Software_product_integration1.jpg"/>
          <p:cNvPicPr>
            <a:picLocks noChangeAspect="1"/>
          </p:cNvPicPr>
          <p:nvPr/>
        </p:nvPicPr>
        <p:blipFill>
          <a:blip r:embed="rId2" cstate="print"/>
          <a:stretch>
            <a:fillRect/>
          </a:stretch>
        </p:blipFill>
        <p:spPr>
          <a:xfrm>
            <a:off x="868680" y="1196340"/>
            <a:ext cx="2621280" cy="1668780"/>
          </a:xfrm>
          <a:prstGeom prst="rect">
            <a:avLst/>
          </a:prstGeom>
        </p:spPr>
      </p:pic>
      <p:sp>
        <p:nvSpPr>
          <p:cNvPr id="16" name="Rounded Rectangle 15"/>
          <p:cNvSpPr/>
          <p:nvPr/>
        </p:nvSpPr>
        <p:spPr>
          <a:xfrm>
            <a:off x="3672840" y="1516261"/>
            <a:ext cx="5669280" cy="108977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Coding(different functionalities): </a:t>
            </a:r>
          </a:p>
          <a:p>
            <a:pPr marL="0" lvl="1">
              <a:spcBef>
                <a:spcPts val="117"/>
              </a:spcBef>
              <a:buClr>
                <a:schemeClr val="tx1"/>
              </a:buClr>
              <a:buSzPct val="100000"/>
              <a:defRPr/>
            </a:pPr>
            <a:r>
              <a:rPr lang="en-US" altLang="en-US" sz="1600" dirty="0" smtClean="0">
                <a:solidFill>
                  <a:srgbClr val="000000"/>
                </a:solidFill>
              </a:rPr>
              <a:t>Coding might happen at functionalities level. Like one part is assigned to one team and another part to another team.</a:t>
            </a:r>
            <a:endParaRPr lang="en-GB" altLang="en-US" sz="1600" dirty="0" smtClean="0">
              <a:solidFill>
                <a:srgbClr val="000000"/>
              </a:solidFill>
            </a:endParaRPr>
          </a:p>
        </p:txBody>
      </p:sp>
      <p:pic>
        <p:nvPicPr>
          <p:cNvPr id="17" name="Picture 16" descr="6 Software_product_integration2.jpg"/>
          <p:cNvPicPr>
            <a:picLocks noChangeAspect="1"/>
          </p:cNvPicPr>
          <p:nvPr/>
        </p:nvPicPr>
        <p:blipFill>
          <a:blip r:embed="rId3" cstate="print"/>
          <a:stretch>
            <a:fillRect/>
          </a:stretch>
        </p:blipFill>
        <p:spPr>
          <a:xfrm>
            <a:off x="-1" y="2955290"/>
            <a:ext cx="2652027" cy="1799590"/>
          </a:xfrm>
          <a:prstGeom prst="rect">
            <a:avLst/>
          </a:prstGeom>
        </p:spPr>
      </p:pic>
      <p:pic>
        <p:nvPicPr>
          <p:cNvPr id="18" name="Picture 17" descr="7 Software_product_integration3.jpg"/>
          <p:cNvPicPr>
            <a:picLocks noChangeAspect="1"/>
          </p:cNvPicPr>
          <p:nvPr/>
        </p:nvPicPr>
        <p:blipFill>
          <a:blip r:embed="rId4" cstate="print"/>
          <a:stretch>
            <a:fillRect/>
          </a:stretch>
        </p:blipFill>
        <p:spPr>
          <a:xfrm>
            <a:off x="2910840" y="3176205"/>
            <a:ext cx="2667000" cy="1517715"/>
          </a:xfrm>
          <a:prstGeom prst="rect">
            <a:avLst/>
          </a:prstGeom>
        </p:spPr>
      </p:pic>
      <p:pic>
        <p:nvPicPr>
          <p:cNvPr id="21" name="Picture 20" descr="8 SIT1.png"/>
          <p:cNvPicPr>
            <a:picLocks noChangeAspect="1"/>
          </p:cNvPicPr>
          <p:nvPr/>
        </p:nvPicPr>
        <p:blipFill>
          <a:blip r:embed="rId5" cstate="print"/>
          <a:stretch>
            <a:fillRect/>
          </a:stretch>
        </p:blipFill>
        <p:spPr>
          <a:xfrm>
            <a:off x="121921" y="4709160"/>
            <a:ext cx="2816258" cy="1600201"/>
          </a:xfrm>
          <a:prstGeom prst="rect">
            <a:avLst/>
          </a:prstGeom>
        </p:spPr>
      </p:pic>
      <p:sp>
        <p:nvSpPr>
          <p:cNvPr id="24" name="Rounded Rectangle 23"/>
          <p:cNvSpPr/>
          <p:nvPr/>
        </p:nvSpPr>
        <p:spPr>
          <a:xfrm>
            <a:off x="5913120" y="3444240"/>
            <a:ext cx="393192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Product Integration: </a:t>
            </a:r>
          </a:p>
          <a:p>
            <a:pPr marL="0" lvl="1">
              <a:spcBef>
                <a:spcPts val="117"/>
              </a:spcBef>
              <a:buClr>
                <a:schemeClr val="tx1"/>
              </a:buClr>
              <a:buSzPct val="100000"/>
              <a:defRPr/>
            </a:pPr>
            <a:r>
              <a:rPr lang="en-US" altLang="en-US" sz="1600" dirty="0" smtClean="0">
                <a:solidFill>
                  <a:srgbClr val="000000"/>
                </a:solidFill>
              </a:rPr>
              <a:t>Assemble the product with its different components.</a:t>
            </a:r>
            <a:endParaRPr lang="en-GB" altLang="en-US" sz="1600" dirty="0" smtClean="0">
              <a:solidFill>
                <a:srgbClr val="000000"/>
              </a:solidFill>
            </a:endParaRPr>
          </a:p>
        </p:txBody>
      </p:sp>
      <p:sp>
        <p:nvSpPr>
          <p:cNvPr id="25" name="Rounded Rectangle 24"/>
          <p:cNvSpPr/>
          <p:nvPr/>
        </p:nvSpPr>
        <p:spPr>
          <a:xfrm>
            <a:off x="3185160" y="5112901"/>
            <a:ext cx="5044440" cy="112025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Testing: </a:t>
            </a:r>
          </a:p>
          <a:p>
            <a:pPr marL="0" lvl="1">
              <a:spcBef>
                <a:spcPts val="117"/>
              </a:spcBef>
              <a:buClr>
                <a:schemeClr val="tx1"/>
              </a:buClr>
              <a:buSzPct val="100000"/>
              <a:defRPr/>
            </a:pPr>
            <a:r>
              <a:rPr lang="en-US" altLang="en-US" sz="1600" dirty="0" smtClean="0">
                <a:solidFill>
                  <a:srgbClr val="000000"/>
                </a:solidFill>
              </a:rPr>
              <a:t>Test all the product components after the product is integrated with all its components.</a:t>
            </a:r>
            <a:endParaRPr lang="en-GB" altLang="en-US" sz="1600" dirty="0" smtClean="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blinds(horizontal)">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linds(horizontal)">
                                      <p:cBhvr>
                                        <p:cTn id="15" dur="500"/>
                                        <p:tgtEl>
                                          <p:spTgt spid="17"/>
                                        </p:tgtEl>
                                      </p:cBhvr>
                                    </p:animEffect>
                                  </p:childTnLst>
                                </p:cTn>
                              </p:par>
                              <p:par>
                                <p:cTn id="16" presetID="3" presetClass="entr" presetSubtype="10" fill="hold"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linds(horizontal)">
                                      <p:cBhvr>
                                        <p:cTn id="18" dur="500"/>
                                        <p:tgtEl>
                                          <p:spTgt spid="18"/>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blinds(horizontal)">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blinds(horizontal)">
                                      <p:cBhvr>
                                        <p:cTn id="26" dur="500"/>
                                        <p:tgtEl>
                                          <p:spTgt spid="21"/>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blinds(horizontal)">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animBg="1"/>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3"/>
          <p:cNvSpPr txBox="1">
            <a:spLocks/>
          </p:cNvSpPr>
          <p:nvPr/>
        </p:nvSpPr>
        <p:spPr>
          <a:xfrm>
            <a:off x="4919834" y="6532937"/>
            <a:ext cx="23114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tint val="75000"/>
                  </a:schemeClr>
                </a:solidFill>
                <a:effectLst/>
                <a:uLnTx/>
                <a:uFillTx/>
                <a:latin typeface="+mn-lt"/>
                <a:ea typeface="+mn-ea"/>
                <a:cs typeface="+mn-cs"/>
              </a:rPr>
              <a:t> </a:t>
            </a:r>
          </a:p>
        </p:txBody>
      </p:sp>
      <p:sp>
        <p:nvSpPr>
          <p:cNvPr id="8" name="Title 7"/>
          <p:cNvSpPr>
            <a:spLocks noGrp="1"/>
          </p:cNvSpPr>
          <p:nvPr>
            <p:ph type="title"/>
          </p:nvPr>
        </p:nvSpPr>
        <p:spPr/>
        <p:txBody>
          <a:bodyPr>
            <a:normAutofit/>
          </a:bodyPr>
          <a:lstStyle/>
          <a:p>
            <a:r>
              <a:rPr lang="en-US" sz="2400" dirty="0" smtClean="0"/>
              <a:t>Scenario : Developing a Software App (</a:t>
            </a:r>
            <a:r>
              <a:rPr lang="en-US" sz="2400" dirty="0" err="1" smtClean="0"/>
              <a:t>Whats</a:t>
            </a:r>
            <a:r>
              <a:rPr lang="en-US" sz="2400" dirty="0" smtClean="0"/>
              <a:t> App)</a:t>
            </a:r>
            <a:endParaRPr lang="en-US" sz="2400" dirty="0">
              <a:solidFill>
                <a:srgbClr val="002060"/>
              </a:solidFill>
            </a:endParaRPr>
          </a:p>
        </p:txBody>
      </p:sp>
      <p:sp>
        <p:nvSpPr>
          <p:cNvPr id="26" name="Rounded Rectangle 25"/>
          <p:cNvSpPr/>
          <p:nvPr/>
        </p:nvSpPr>
        <p:spPr>
          <a:xfrm>
            <a:off x="4389120" y="1506256"/>
            <a:ext cx="4770120" cy="9906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b="1" dirty="0" smtClean="0">
                <a:solidFill>
                  <a:srgbClr val="000000"/>
                </a:solidFill>
              </a:rPr>
              <a:t>Deployment: </a:t>
            </a:r>
          </a:p>
          <a:p>
            <a:pPr marL="0" lvl="1">
              <a:spcBef>
                <a:spcPts val="117"/>
              </a:spcBef>
              <a:buClr>
                <a:schemeClr val="tx1"/>
              </a:buClr>
              <a:buSzPct val="100000"/>
              <a:defRPr/>
            </a:pPr>
            <a:r>
              <a:rPr lang="en-US" altLang="en-US" sz="1600" dirty="0" smtClean="0">
                <a:solidFill>
                  <a:srgbClr val="000000"/>
                </a:solidFill>
              </a:rPr>
              <a:t>Deploy the Product to Production Environment.</a:t>
            </a:r>
            <a:endParaRPr lang="en-GB" altLang="en-US" sz="1600" dirty="0" smtClean="0">
              <a:solidFill>
                <a:srgbClr val="000000"/>
              </a:solidFill>
            </a:endParaRPr>
          </a:p>
        </p:txBody>
      </p:sp>
      <p:pic>
        <p:nvPicPr>
          <p:cNvPr id="27" name="Picture 26" descr="9 deployment.jpg"/>
          <p:cNvPicPr>
            <a:picLocks noChangeAspect="1"/>
          </p:cNvPicPr>
          <p:nvPr/>
        </p:nvPicPr>
        <p:blipFill>
          <a:blip r:embed="rId2" cstate="print"/>
          <a:stretch>
            <a:fillRect/>
          </a:stretch>
        </p:blipFill>
        <p:spPr>
          <a:xfrm>
            <a:off x="624840" y="1292896"/>
            <a:ext cx="3459480" cy="2103120"/>
          </a:xfrm>
          <a:prstGeom prst="rect">
            <a:avLst/>
          </a:prstGeom>
        </p:spPr>
      </p:pic>
      <p:pic>
        <p:nvPicPr>
          <p:cNvPr id="28" name="Picture 27" descr="10 Whats up user.jpg"/>
          <p:cNvPicPr>
            <a:picLocks noChangeAspect="1"/>
          </p:cNvPicPr>
          <p:nvPr/>
        </p:nvPicPr>
        <p:blipFill>
          <a:blip r:embed="rId3" cstate="print"/>
          <a:stretch>
            <a:fillRect/>
          </a:stretch>
        </p:blipFill>
        <p:spPr>
          <a:xfrm>
            <a:off x="964653" y="3534543"/>
            <a:ext cx="3084654" cy="1418457"/>
          </a:xfrm>
          <a:prstGeom prst="rect">
            <a:avLst/>
          </a:prstGeom>
        </p:spPr>
      </p:pic>
      <p:sp>
        <p:nvSpPr>
          <p:cNvPr id="14" name="Rounded Rectangle 13"/>
          <p:cNvSpPr/>
          <p:nvPr/>
        </p:nvSpPr>
        <p:spPr>
          <a:xfrm>
            <a:off x="4345902" y="3694563"/>
            <a:ext cx="3794760" cy="1066800"/>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US" altLang="en-US" sz="1600" dirty="0" smtClean="0">
                <a:solidFill>
                  <a:srgbClr val="000000"/>
                </a:solidFill>
              </a:rPr>
              <a:t>Internet user downloads and uses the software app.</a:t>
            </a:r>
            <a:endParaRPr lang="en-GB" altLang="en-US" sz="1600" dirty="0" smtClean="0">
              <a:solidFill>
                <a:srgbClr val="000000"/>
              </a:solidFill>
            </a:endParaRPr>
          </a:p>
        </p:txBody>
      </p:sp>
      <p:sp>
        <p:nvSpPr>
          <p:cNvPr id="9" name="Rounded Rectangle 8"/>
          <p:cNvSpPr/>
          <p:nvPr/>
        </p:nvSpPr>
        <p:spPr>
          <a:xfrm>
            <a:off x="716280" y="5029200"/>
            <a:ext cx="8641080" cy="1295399"/>
          </a:xfrm>
          <a:prstGeom prst="roundRect">
            <a:avLst/>
          </a:prstGeom>
          <a:gradFill flip="none" rotWithShape="1">
            <a:gsLst>
              <a:gs pos="0">
                <a:srgbClr val="85888B">
                  <a:lumMod val="40000"/>
                  <a:lumOff val="60000"/>
                </a:srgbClr>
              </a:gs>
              <a:gs pos="100000">
                <a:srgbClr val="FFFFFF"/>
              </a:gs>
            </a:gsLst>
            <a:lin ang="16200000" scaled="1"/>
            <a:tileRect/>
          </a:gradFill>
          <a:effectLst>
            <a:outerShdw blurRad="50800" dist="38099" dir="2700015" rotWithShape="0">
              <a:scrgbClr r="0" g="0" b="0">
                <a:alpha val="40000"/>
              </a:scrgbClr>
            </a:outerShdw>
          </a:effectLst>
        </p:spPr>
        <p:txBody>
          <a:bodyPr wrap="square" lIns="91440" tIns="73152" rIns="45720" bIns="91440" anchor="ctr">
            <a:noAutofit/>
          </a:bodyPr>
          <a:lstStyle/>
          <a:p>
            <a:pPr marL="0" lvl="1">
              <a:spcBef>
                <a:spcPts val="117"/>
              </a:spcBef>
              <a:buClr>
                <a:schemeClr val="tx1"/>
              </a:buClr>
              <a:buSzPct val="100000"/>
              <a:defRPr/>
            </a:pPr>
            <a:r>
              <a:rPr lang="en-GB" altLang="en-US" sz="1600" dirty="0" smtClean="0">
                <a:solidFill>
                  <a:srgbClr val="000000"/>
                </a:solidFill>
              </a:rPr>
              <a:t>With this scenario, we understood that, there is a sequence of stages involved in the development of a software product.</a:t>
            </a:r>
          </a:p>
          <a:p>
            <a:pPr marL="0" lvl="1">
              <a:spcBef>
                <a:spcPts val="117"/>
              </a:spcBef>
              <a:buClr>
                <a:schemeClr val="tx1"/>
              </a:buClr>
              <a:buSzPct val="100000"/>
              <a:defRPr/>
            </a:pPr>
            <a:r>
              <a:rPr lang="en-US" altLang="en-US" sz="1600" dirty="0" smtClean="0">
                <a:solidFill>
                  <a:srgbClr val="000000"/>
                </a:solidFill>
              </a:rPr>
              <a:t>Here, Requirements/</a:t>
            </a:r>
            <a:r>
              <a:rPr lang="en-US" altLang="en-US" sz="1600" dirty="0" err="1" smtClean="0">
                <a:solidFill>
                  <a:srgbClr val="000000"/>
                </a:solidFill>
              </a:rPr>
              <a:t>Planing</a:t>
            </a:r>
            <a:r>
              <a:rPr lang="en-US" altLang="en-US" sz="1600" dirty="0" smtClean="0">
                <a:solidFill>
                  <a:srgbClr val="000000"/>
                </a:solidFill>
              </a:rPr>
              <a:t>, Requirement Analysis/Defining, Design, Coding, Testing, Deployment etc.. these are </a:t>
            </a:r>
            <a:r>
              <a:rPr lang="en-US" altLang="en-US" sz="1600" dirty="0" err="1" smtClean="0">
                <a:solidFill>
                  <a:srgbClr val="000000"/>
                </a:solidFill>
              </a:rPr>
              <a:t>WhatsApp</a:t>
            </a:r>
            <a:r>
              <a:rPr lang="en-US" altLang="en-US" sz="1600" dirty="0" smtClean="0">
                <a:solidFill>
                  <a:srgbClr val="000000"/>
                </a:solidFill>
              </a:rPr>
              <a:t> software development life cycle stages.</a:t>
            </a:r>
            <a:endParaRPr lang="en-GB" altLang="en-US" sz="1600" dirty="0" smtClean="0">
              <a:solidFill>
                <a:srgbClr val="000000"/>
              </a:solidFill>
            </a:endParaRPr>
          </a:p>
        </p:txBody>
      </p:sp>
    </p:spTree>
    <p:extLst>
      <p:ext uri="{BB962C8B-B14F-4D97-AF65-F5344CB8AC3E}">
        <p14:creationId xmlns:p14="http://schemas.microsoft.com/office/powerpoint/2010/main" val="18752849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linds(horizontal)">
                                      <p:cBhvr>
                                        <p:cTn id="7" dur="500"/>
                                        <p:tgtEl>
                                          <p:spTgt spid="2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linds(horizontal)">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blinds(horizontal)">
                                      <p:cBhvr>
                                        <p:cTn id="15" dur="500"/>
                                        <p:tgtEl>
                                          <p:spTgt spid="28"/>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linds(horizontal)">
                                      <p:cBhvr>
                                        <p:cTn id="18" dur="500"/>
                                        <p:tgtEl>
                                          <p:spTgt spid="14"/>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blinds(horizontal)">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4"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1.xml><?xml version="1.0" encoding="utf-8"?>
<p:tagLst xmlns:a="http://schemas.openxmlformats.org/drawingml/2006/main" xmlns:r="http://schemas.openxmlformats.org/officeDocument/2006/relationships" xmlns:p="http://schemas.openxmlformats.org/presentationml/2006/main">
  <p:tag name="BULLETS"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A08486A9487C44B8DE7F6BED493274" ma:contentTypeVersion="" ma:contentTypeDescription="Create a new document." ma:contentTypeScope="" ma:versionID="0e5a6798ac1e13a5eb2779caadb915cd">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0E8DD8-E002-44E5-ABC5-2FF9BC1E9A44}">
  <ds:schemaRefs>
    <ds:schemaRef ds:uri="http://schemas.openxmlformats.org/package/2006/metadata/core-properties"/>
    <ds:schemaRef ds:uri="http://schemas.microsoft.com/office/2006/documentManagement/types"/>
    <ds:schemaRef ds:uri="http://www.w3.org/XML/1998/namespace"/>
    <ds:schemaRef ds:uri="http://purl.org/dc/terms/"/>
    <ds:schemaRef ds:uri="http://schemas.microsoft.com/office/infopath/2007/PartnerControls"/>
    <ds:schemaRef ds:uri="http://schemas.microsoft.com/office/2006/metadata/properties"/>
    <ds:schemaRef ds:uri="http://purl.org/dc/dcmitype/"/>
    <ds:schemaRef ds:uri="http://purl.org/dc/elements/1.1/"/>
  </ds:schemaRefs>
</ds:datastoreItem>
</file>

<file path=customXml/itemProps2.xml><?xml version="1.0" encoding="utf-8"?>
<ds:datastoreItem xmlns:ds="http://schemas.openxmlformats.org/officeDocument/2006/customXml" ds:itemID="{18CBECBA-FDED-4EEF-A276-79CEC8A6FA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61BF758-6837-40FB-9523-0708618B55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963</TotalTime>
  <Words>7691</Words>
  <Application>Microsoft Office PowerPoint</Application>
  <PresentationFormat>A4 Paper (210x297 mm)</PresentationFormat>
  <Paragraphs>1027</Paragraphs>
  <Slides>68</Slides>
  <Notes>63</Notes>
  <HiddenSlides>0</HiddenSlides>
  <MMClips>0</MMClips>
  <ScaleCrop>false</ScaleCrop>
  <HeadingPairs>
    <vt:vector size="6" baseType="variant">
      <vt:variant>
        <vt:lpstr>Theme</vt:lpstr>
      </vt:variant>
      <vt:variant>
        <vt:i4>3</vt:i4>
      </vt:variant>
      <vt:variant>
        <vt:lpstr>Embedded OLE Servers</vt:lpstr>
      </vt:variant>
      <vt:variant>
        <vt:i4>4</vt:i4>
      </vt:variant>
      <vt:variant>
        <vt:lpstr>Slide Titles</vt:lpstr>
      </vt:variant>
      <vt:variant>
        <vt:i4>68</vt:i4>
      </vt:variant>
    </vt:vector>
  </HeadingPairs>
  <TitlesOfParts>
    <vt:vector size="75" baseType="lpstr">
      <vt:lpstr>Capgemini template</vt:lpstr>
      <vt:lpstr>Closing slides</vt:lpstr>
      <vt:lpstr>Section break</vt:lpstr>
      <vt:lpstr>think-cell Slide</vt:lpstr>
      <vt:lpstr>Packager Shell Object</vt:lpstr>
      <vt:lpstr>Flash Movie</vt:lpstr>
      <vt:lpstr>Worksheet</vt:lpstr>
      <vt:lpstr>PowerPoint Presentation</vt:lpstr>
      <vt:lpstr>Starters</vt:lpstr>
      <vt:lpstr>Agenda</vt:lpstr>
      <vt:lpstr>Introduction – Concepts  of Quality </vt:lpstr>
      <vt:lpstr>Why Quality is important?</vt:lpstr>
      <vt:lpstr>Why Quality is important Contd..</vt:lpstr>
      <vt:lpstr>PowerPoint Presentation</vt:lpstr>
      <vt:lpstr>Scenario : Developing a Software App (WhatsApp)</vt:lpstr>
      <vt:lpstr>Scenario : Developing a Software App (Whats App)</vt:lpstr>
      <vt:lpstr>Software Development Life Cycle (SDLC) &amp; CG Methodologies</vt:lpstr>
      <vt:lpstr>Various Life Cycle models &amp; Methodlogies in Software</vt:lpstr>
      <vt:lpstr>Role Play on SDLC</vt:lpstr>
      <vt:lpstr>Generic Terminologies </vt:lpstr>
      <vt:lpstr>Scenario : Alex’s Smartphone</vt:lpstr>
      <vt:lpstr>Generic Terminologies </vt:lpstr>
      <vt:lpstr>What is Quality?</vt:lpstr>
      <vt:lpstr>Benefits of  Quality</vt:lpstr>
      <vt:lpstr>Quality Terminologies </vt:lpstr>
      <vt:lpstr>Configuration Management basic concepts</vt:lpstr>
      <vt:lpstr>Agenda</vt:lpstr>
      <vt:lpstr>What is Quality Management System (QMS)?</vt:lpstr>
      <vt:lpstr>QMS Structure</vt:lpstr>
      <vt:lpstr>What is Quality Policy? </vt:lpstr>
      <vt:lpstr>QMS Components</vt:lpstr>
      <vt:lpstr>QMS Components Continued…</vt:lpstr>
      <vt:lpstr>QMS Components Continued…</vt:lpstr>
      <vt:lpstr>QMS Components Continued…</vt:lpstr>
      <vt:lpstr>QMS Portal Walkthrough </vt:lpstr>
      <vt:lpstr>QMS Portal &amp; Its Navigation</vt:lpstr>
      <vt:lpstr>QMS Portal &amp; Its Navigation Continued…</vt:lpstr>
      <vt:lpstr>Agenda</vt:lpstr>
      <vt:lpstr>Deliver</vt:lpstr>
      <vt:lpstr>Agenda</vt:lpstr>
      <vt:lpstr>KM Portal – Best Practice/Sample Records Database</vt:lpstr>
      <vt:lpstr>Agenda</vt:lpstr>
      <vt:lpstr>Tools Quality Implementation at Capgemini</vt:lpstr>
      <vt:lpstr>Agenda</vt:lpstr>
      <vt:lpstr>Our Continual Quality Journey…</vt:lpstr>
      <vt:lpstr>Agenda</vt:lpstr>
      <vt:lpstr>Industry Standards</vt:lpstr>
      <vt:lpstr>Industry Standards</vt:lpstr>
      <vt:lpstr>Agenda</vt:lpstr>
      <vt:lpstr>QA Department</vt:lpstr>
      <vt:lpstr>Org Structure</vt:lpstr>
      <vt:lpstr>QA Services – Facilitation and Ongoing Support</vt:lpstr>
      <vt:lpstr>QA Services - Audit</vt:lpstr>
      <vt:lpstr>QA Services - Risk Management</vt:lpstr>
      <vt:lpstr>QA Services - Metrics</vt:lpstr>
      <vt:lpstr>QA Services - Six Sigma</vt:lpstr>
      <vt:lpstr>Continuous Improvement – PDCA Cycle</vt:lpstr>
      <vt:lpstr>Agenda</vt:lpstr>
      <vt:lpstr>Walkthrough of Basic Templates - CLARITY</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LARITY Continued…</vt:lpstr>
      <vt:lpstr>Walkthrough of Basic Templates - Coding Standards &amp; Guidelines</vt:lpstr>
      <vt:lpstr>Walkthrough of Basic Templates – DEFECT LOG</vt:lpstr>
      <vt:lpstr>Walkthrough of Basic Templates</vt:lpstr>
      <vt:lpstr>Why Capture Efforts?</vt:lpstr>
      <vt:lpstr>Why to Capture Defects?</vt:lpstr>
      <vt:lpstr>Agenda</vt:lpstr>
      <vt:lpstr>Case Studies &amp; Games</vt:lpstr>
      <vt:lpstr>Case Studies &amp; Games Continued..</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Rajkumar Biradar</dc:creator>
  <cp:lastModifiedBy>Tembhare, Anjulata</cp:lastModifiedBy>
  <cp:revision>333</cp:revision>
  <dcterms:created xsi:type="dcterms:W3CDTF">2012-06-20T17:22:58Z</dcterms:created>
  <dcterms:modified xsi:type="dcterms:W3CDTF">2016-09-15T06:3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A08486A9487C44B8DE7F6BED493274</vt:lpwstr>
  </property>
</Properties>
</file>